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9"/>
  </p:notesMasterIdLst>
  <p:sldIdLst>
    <p:sldId id="608" r:id="rId2"/>
    <p:sldId id="312" r:id="rId3"/>
    <p:sldId id="337" r:id="rId4"/>
    <p:sldId id="409" r:id="rId5"/>
    <p:sldId id="613" r:id="rId6"/>
    <p:sldId id="615" r:id="rId7"/>
    <p:sldId id="617" r:id="rId8"/>
    <p:sldId id="619" r:id="rId9"/>
    <p:sldId id="620" r:id="rId10"/>
    <p:sldId id="621" r:id="rId11"/>
    <p:sldId id="622" r:id="rId12"/>
    <p:sldId id="261" r:id="rId13"/>
    <p:sldId id="403" r:id="rId14"/>
    <p:sldId id="264" r:id="rId15"/>
    <p:sldId id="623" r:id="rId16"/>
    <p:sldId id="385" r:id="rId17"/>
    <p:sldId id="643" r:id="rId18"/>
    <p:sldId id="266" r:id="rId19"/>
    <p:sldId id="284" r:id="rId20"/>
    <p:sldId id="344" r:id="rId21"/>
    <p:sldId id="269" r:id="rId22"/>
    <p:sldId id="343" r:id="rId23"/>
    <p:sldId id="271" r:id="rId24"/>
    <p:sldId id="275" r:id="rId25"/>
    <p:sldId id="273" r:id="rId26"/>
    <p:sldId id="318" r:id="rId27"/>
    <p:sldId id="316" r:id="rId28"/>
    <p:sldId id="345" r:id="rId29"/>
    <p:sldId id="317" r:id="rId30"/>
    <p:sldId id="386" r:id="rId31"/>
    <p:sldId id="625" r:id="rId32"/>
    <p:sldId id="347" r:id="rId33"/>
    <p:sldId id="279" r:id="rId34"/>
    <p:sldId id="276" r:id="rId35"/>
    <p:sldId id="415" r:id="rId36"/>
    <p:sldId id="331" r:id="rId37"/>
    <p:sldId id="626" r:id="rId38"/>
    <p:sldId id="277" r:id="rId39"/>
    <p:sldId id="349" r:id="rId40"/>
    <p:sldId id="605" r:id="rId41"/>
    <p:sldId id="607" r:id="rId42"/>
    <p:sldId id="606" r:id="rId43"/>
    <p:sldId id="336" r:id="rId44"/>
    <p:sldId id="280" r:id="rId45"/>
    <p:sldId id="374" r:id="rId46"/>
    <p:sldId id="282" r:id="rId47"/>
    <p:sldId id="373" r:id="rId48"/>
    <p:sldId id="310" r:id="rId49"/>
    <p:sldId id="309" r:id="rId50"/>
    <p:sldId id="323" r:id="rId51"/>
    <p:sldId id="315" r:id="rId52"/>
    <p:sldId id="640" r:id="rId53"/>
    <p:sldId id="641" r:id="rId54"/>
    <p:sldId id="352" r:id="rId55"/>
    <p:sldId id="355" r:id="rId56"/>
    <p:sldId id="320" r:id="rId57"/>
    <p:sldId id="324" r:id="rId58"/>
    <p:sldId id="632" r:id="rId59"/>
    <p:sldId id="595" r:id="rId60"/>
    <p:sldId id="342" r:id="rId61"/>
    <p:sldId id="635" r:id="rId62"/>
    <p:sldId id="634" r:id="rId63"/>
    <p:sldId id="636" r:id="rId64"/>
    <p:sldId id="290" r:id="rId65"/>
    <p:sldId id="639" r:id="rId66"/>
    <p:sldId id="585" r:id="rId67"/>
    <p:sldId id="596" r:id="rId68"/>
    <p:sldId id="598" r:id="rId69"/>
    <p:sldId id="400" r:id="rId70"/>
    <p:sldId id="350" r:id="rId71"/>
    <p:sldId id="300" r:id="rId72"/>
    <p:sldId id="301" r:id="rId73"/>
    <p:sldId id="294" r:id="rId74"/>
    <p:sldId id="330" r:id="rId75"/>
    <p:sldId id="638" r:id="rId76"/>
    <p:sldId id="629" r:id="rId77"/>
    <p:sldId id="395" r:id="rId78"/>
    <p:sldId id="297" r:id="rId79"/>
    <p:sldId id="295" r:id="rId80"/>
    <p:sldId id="637" r:id="rId81"/>
    <p:sldId id="292" r:id="rId82"/>
    <p:sldId id="304" r:id="rId83"/>
    <p:sldId id="642" r:id="rId84"/>
    <p:sldId id="305" r:id="rId85"/>
    <p:sldId id="307" r:id="rId86"/>
    <p:sldId id="378" r:id="rId87"/>
    <p:sldId id="319" r:id="rId88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99"/>
    <a:srgbClr val="FF2600"/>
    <a:srgbClr val="5B9BD5"/>
    <a:srgbClr val="FF99FF"/>
    <a:srgbClr val="E7E6E6"/>
    <a:srgbClr val="C4E6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469" autoAdjust="0"/>
    <p:restoredTop sz="82006" autoAdjust="0"/>
  </p:normalViewPr>
  <p:slideViewPr>
    <p:cSldViewPr snapToGrid="0">
      <p:cViewPr>
        <p:scale>
          <a:sx n="90" d="100"/>
          <a:sy n="90" d="100"/>
        </p:scale>
        <p:origin x="-680" y="1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notesMaster" Target="notesMasters/notesMaster1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presProps" Target="presProp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theme" Target="theme/theme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cbookpro/Desktop/STATISTIQUE%20PRISE%20EN%20CHARGE%20LISCA/PRISE%20EN%20CHARGE%20LISCA%20STATISTIQUE%20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cbookpro/Desktop/STATISTIQUE%20PRISE%20EN%20CHARGE%20LISCA/PRISE%20EN%20CHARGE%20LISCA%20STATISTIQUE%20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cbookpro/Desktop/STATISTIQUE%20PRISE%20EN%20CHARGE%20LISCA/PRISE%20EN%20CHARGE%20LISCA%20STATISTIQUE%20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cbookpro/Desktop/STATISTIQUE%20PRISE%20EN%20CHARGE%20LISCA/PRISE%20EN%20CHARGE%20LISCA%20STATISTIQUE%20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cbookpro/Desktop/STATISTIQUE%20PRISE%20EN%20CHARGE%20LISCA/PRISE%20EN%20CHARGE%20LISCA%20STATISTIQUE%20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cbookpro/Desktop/STATISTIQUE%20PRISE%20EN%20CHARGE%20LISCA/PRISE%20EN%20CHARGE%20LISCA%20STATISTIQUE%20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cbookpro/Desktop/STATISTIQUE%20PRISE%20EN%20CHARGE%20LISCA/PRISE%20EN%20CHARGE%20LISCA%20STATISTIQUE%20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cbookpro/Desktop/STATISTIQUE%20PRISE%20EN%20CHARGE%20LISCA/PRISE%20EN%20CHARGE%20LISCA%20STATISTIQUE%20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 dirty="0"/>
              <a:t>Nombres de Malades par Années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REACAP!$A$6</c:f>
              <c:strCache>
                <c:ptCount val="1"/>
                <c:pt idx="0">
                  <c:v>NOMBRES DE MALADES 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REACAP!$B$3:$G$3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REACAP!$B$6:$G$6</c:f>
              <c:numCache>
                <c:formatCode>General</c:formatCode>
                <c:ptCount val="6"/>
                <c:pt idx="0">
                  <c:v>339</c:v>
                </c:pt>
                <c:pt idx="1">
                  <c:v>339</c:v>
                </c:pt>
                <c:pt idx="2">
                  <c:v>432</c:v>
                </c:pt>
                <c:pt idx="3">
                  <c:v>735</c:v>
                </c:pt>
                <c:pt idx="4">
                  <c:v>602</c:v>
                </c:pt>
                <c:pt idx="5">
                  <c:v>8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FF-6C40-B01F-858558D9362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746539200"/>
        <c:axId val="1746156480"/>
      </c:lineChart>
      <c:catAx>
        <c:axId val="1746539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46156480"/>
        <c:crosses val="autoZero"/>
        <c:auto val="1"/>
        <c:lblAlgn val="ctr"/>
        <c:lblOffset val="100"/>
        <c:noMultiLvlLbl val="0"/>
      </c:catAx>
      <c:valAx>
        <c:axId val="17461564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46539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 dirty="0"/>
              <a:t>Répartition Par Sexe Par A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ACAP!$A$4</c:f>
              <c:strCache>
                <c:ptCount val="1"/>
                <c:pt idx="0">
                  <c:v>FEMININ</c:v>
                </c:pt>
              </c:strCache>
            </c:strRef>
          </c:tx>
          <c:spPr>
            <a:solidFill>
              <a:srgbClr val="FF3399"/>
            </a:solidFill>
            <a:ln>
              <a:solidFill>
                <a:srgbClr val="FF99FF"/>
              </a:solidFill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REACAP!$B$3:$G$3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REACAP!$B$4:$G$4</c:f>
              <c:numCache>
                <c:formatCode>General</c:formatCode>
                <c:ptCount val="6"/>
                <c:pt idx="0">
                  <c:v>281</c:v>
                </c:pt>
                <c:pt idx="1">
                  <c:v>271</c:v>
                </c:pt>
                <c:pt idx="2">
                  <c:v>335</c:v>
                </c:pt>
                <c:pt idx="3">
                  <c:v>565</c:v>
                </c:pt>
                <c:pt idx="4">
                  <c:v>493</c:v>
                </c:pt>
                <c:pt idx="5">
                  <c:v>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4C-D44D-99EF-08BC8F2E3796}"/>
            </c:ext>
          </c:extLst>
        </c:ser>
        <c:ser>
          <c:idx val="1"/>
          <c:order val="1"/>
          <c:tx>
            <c:strRef>
              <c:f>REACAP!$A$5</c:f>
              <c:strCache>
                <c:ptCount val="1"/>
                <c:pt idx="0">
                  <c:v>MASCULIN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5B9BD5"/>
              </a:solidFill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REACAP!$B$3:$G$3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REACAP!$B$5:$G$5</c:f>
              <c:numCache>
                <c:formatCode>General</c:formatCode>
                <c:ptCount val="6"/>
                <c:pt idx="0">
                  <c:v>58</c:v>
                </c:pt>
                <c:pt idx="1">
                  <c:v>68</c:v>
                </c:pt>
                <c:pt idx="2">
                  <c:v>97</c:v>
                </c:pt>
                <c:pt idx="3">
                  <c:v>170</c:v>
                </c:pt>
                <c:pt idx="4">
                  <c:v>109</c:v>
                </c:pt>
                <c:pt idx="5">
                  <c:v>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4C-D44D-99EF-08BC8F2E379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735647888"/>
        <c:axId val="1735649536"/>
      </c:barChart>
      <c:catAx>
        <c:axId val="1735647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35649536"/>
        <c:crosses val="autoZero"/>
        <c:auto val="1"/>
        <c:lblAlgn val="ctr"/>
        <c:lblOffset val="100"/>
        <c:noMultiLvlLbl val="0"/>
      </c:catAx>
      <c:valAx>
        <c:axId val="17356495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35647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REACAP!$A$19</c:f>
              <c:strCache>
                <c:ptCount val="1"/>
                <c:pt idx="0">
                  <c:v>0- 16 ans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2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REACAP!$B$18:$G$18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REACAP!$B$19:$G$19</c:f>
              <c:numCache>
                <c:formatCode>General</c:formatCode>
                <c:ptCount val="6"/>
                <c:pt idx="0">
                  <c:v>3</c:v>
                </c:pt>
                <c:pt idx="1">
                  <c:v>4</c:v>
                </c:pt>
                <c:pt idx="2">
                  <c:v>8</c:v>
                </c:pt>
                <c:pt idx="3">
                  <c:v>15</c:v>
                </c:pt>
                <c:pt idx="4">
                  <c:v>18</c:v>
                </c:pt>
                <c:pt idx="5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53A-134D-80D6-6A5812643273}"/>
            </c:ext>
          </c:extLst>
        </c:ser>
        <c:ser>
          <c:idx val="2"/>
          <c:order val="1"/>
          <c:tx>
            <c:strRef>
              <c:f>REACAP!$A$20</c:f>
              <c:strCache>
                <c:ptCount val="1"/>
                <c:pt idx="0">
                  <c:v>17-29 ans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3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REACAP!$B$18:$G$18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REACAP!$B$20:$G$20</c:f>
              <c:numCache>
                <c:formatCode>General</c:formatCode>
                <c:ptCount val="6"/>
                <c:pt idx="0">
                  <c:v>32</c:v>
                </c:pt>
                <c:pt idx="1">
                  <c:v>25</c:v>
                </c:pt>
                <c:pt idx="2">
                  <c:v>31</c:v>
                </c:pt>
                <c:pt idx="3">
                  <c:v>48</c:v>
                </c:pt>
                <c:pt idx="4">
                  <c:v>43</c:v>
                </c:pt>
                <c:pt idx="5">
                  <c:v>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53A-134D-80D6-6A5812643273}"/>
            </c:ext>
          </c:extLst>
        </c:ser>
        <c:ser>
          <c:idx val="3"/>
          <c:order val="2"/>
          <c:tx>
            <c:strRef>
              <c:f>REACAP!$A$21</c:f>
              <c:strCache>
                <c:ptCount val="1"/>
                <c:pt idx="0">
                  <c:v>30-39 ans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4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REACAP!$B$18:$G$18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REACAP!$B$21:$G$21</c:f>
              <c:numCache>
                <c:formatCode>General</c:formatCode>
                <c:ptCount val="6"/>
                <c:pt idx="0">
                  <c:v>67</c:v>
                </c:pt>
                <c:pt idx="1">
                  <c:v>64</c:v>
                </c:pt>
                <c:pt idx="2">
                  <c:v>75</c:v>
                </c:pt>
                <c:pt idx="3">
                  <c:v>128</c:v>
                </c:pt>
                <c:pt idx="4">
                  <c:v>106</c:v>
                </c:pt>
                <c:pt idx="5">
                  <c:v>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53A-134D-80D6-6A5812643273}"/>
            </c:ext>
          </c:extLst>
        </c:ser>
        <c:ser>
          <c:idx val="4"/>
          <c:order val="3"/>
          <c:tx>
            <c:strRef>
              <c:f>REACAP!$A$22</c:f>
              <c:strCache>
                <c:ptCount val="1"/>
                <c:pt idx="0">
                  <c:v>40- 49 ans</c:v>
                </c:pt>
              </c:strCache>
            </c:strRef>
          </c:tx>
          <c:spPr>
            <a:ln w="34925" cap="rnd">
              <a:solidFill>
                <a:schemeClr val="accent5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5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REACAP!$B$18:$G$18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REACAP!$B$22:$G$22</c:f>
              <c:numCache>
                <c:formatCode>General</c:formatCode>
                <c:ptCount val="6"/>
                <c:pt idx="0">
                  <c:v>100</c:v>
                </c:pt>
                <c:pt idx="1">
                  <c:v>99</c:v>
                </c:pt>
                <c:pt idx="2">
                  <c:v>120</c:v>
                </c:pt>
                <c:pt idx="3">
                  <c:v>185</c:v>
                </c:pt>
                <c:pt idx="4">
                  <c:v>157</c:v>
                </c:pt>
                <c:pt idx="5">
                  <c:v>2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53A-134D-80D6-6A5812643273}"/>
            </c:ext>
          </c:extLst>
        </c:ser>
        <c:ser>
          <c:idx val="5"/>
          <c:order val="4"/>
          <c:tx>
            <c:strRef>
              <c:f>REACAP!$A$23</c:f>
              <c:strCache>
                <c:ptCount val="1"/>
                <c:pt idx="0">
                  <c:v>50- 69ans </c:v>
                </c:pt>
              </c:strCache>
            </c:strRef>
          </c:tx>
          <c:spPr>
            <a:ln w="34925" cap="rnd">
              <a:solidFill>
                <a:schemeClr val="accent6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6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REACAP!$B$18:$G$18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REACAP!$B$23:$G$23</c:f>
              <c:numCache>
                <c:formatCode>General</c:formatCode>
                <c:ptCount val="6"/>
                <c:pt idx="0">
                  <c:v>79</c:v>
                </c:pt>
                <c:pt idx="1">
                  <c:v>85</c:v>
                </c:pt>
                <c:pt idx="2">
                  <c:v>101</c:v>
                </c:pt>
                <c:pt idx="3">
                  <c:v>202</c:v>
                </c:pt>
                <c:pt idx="4">
                  <c:v>136</c:v>
                </c:pt>
                <c:pt idx="5">
                  <c:v>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53A-134D-80D6-6A5812643273}"/>
            </c:ext>
          </c:extLst>
        </c:ser>
        <c:ser>
          <c:idx val="6"/>
          <c:order val="5"/>
          <c:tx>
            <c:strRef>
              <c:f>REACAP!$A$24</c:f>
              <c:strCache>
                <c:ptCount val="1"/>
                <c:pt idx="0">
                  <c:v>60-69 ans</c:v>
                </c:pt>
              </c:strCache>
            </c:strRef>
          </c:tx>
          <c:spPr>
            <a:ln w="34925" cap="rnd">
              <a:solidFill>
                <a:schemeClr val="accent1">
                  <a:lumMod val="60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1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1">
                    <a:lumMod val="60000"/>
                  </a:schemeClr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REACAP!$B$18:$G$18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REACAP!$B$24:$G$24</c:f>
              <c:numCache>
                <c:formatCode>General</c:formatCode>
                <c:ptCount val="6"/>
                <c:pt idx="0">
                  <c:v>48</c:v>
                </c:pt>
                <c:pt idx="1">
                  <c:v>47</c:v>
                </c:pt>
                <c:pt idx="2">
                  <c:v>71</c:v>
                </c:pt>
                <c:pt idx="3">
                  <c:v>128</c:v>
                </c:pt>
                <c:pt idx="4">
                  <c:v>103</c:v>
                </c:pt>
                <c:pt idx="5">
                  <c:v>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53A-134D-80D6-6A5812643273}"/>
            </c:ext>
          </c:extLst>
        </c:ser>
        <c:ser>
          <c:idx val="0"/>
          <c:order val="6"/>
          <c:tx>
            <c:strRef>
              <c:f>REACAP!$A$25</c:f>
              <c:strCache>
                <c:ptCount val="1"/>
                <c:pt idx="0">
                  <c:v>70 et +</c:v>
                </c:pt>
              </c:strCache>
            </c:strRef>
          </c:tx>
          <c:spPr>
            <a:ln w="34925" cap="rnd">
              <a:solidFill>
                <a:srgbClr val="FF2600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1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REACAP!$B$18:$G$18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REACAP!$B$25:$G$25</c:f>
              <c:numCache>
                <c:formatCode>General</c:formatCode>
                <c:ptCount val="6"/>
                <c:pt idx="0">
                  <c:v>10</c:v>
                </c:pt>
                <c:pt idx="1">
                  <c:v>15</c:v>
                </c:pt>
                <c:pt idx="2">
                  <c:v>26</c:v>
                </c:pt>
                <c:pt idx="3">
                  <c:v>29</c:v>
                </c:pt>
                <c:pt idx="4">
                  <c:v>39</c:v>
                </c:pt>
                <c:pt idx="5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53A-134D-80D6-6A581264327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758336672"/>
        <c:axId val="1753459008"/>
      </c:lineChart>
      <c:catAx>
        <c:axId val="1758336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53459008"/>
        <c:crosses val="autoZero"/>
        <c:auto val="1"/>
        <c:lblAlgn val="ctr"/>
        <c:lblOffset val="100"/>
        <c:noMultiLvlLbl val="0"/>
      </c:catAx>
      <c:valAx>
        <c:axId val="1753459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58336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REACAP!$B$54</c:f>
              <c:strCache>
                <c:ptCount val="1"/>
                <c:pt idx="0">
                  <c:v> Montants  </c:v>
                </c:pt>
              </c:strCache>
            </c:strRef>
          </c:tx>
          <c:spPr>
            <a:ln w="47625" cap="rnd">
              <a:solidFill>
                <a:schemeClr val="accent1"/>
              </a:solidFill>
            </a:ln>
            <a:effectLst>
              <a:glow rad="139700">
                <a:schemeClr val="accent1">
                  <a:satMod val="175000"/>
                  <a:alpha val="14000"/>
                </a:schemeClr>
              </a:glow>
            </a:effectLst>
          </c:spPr>
          <c:marker>
            <c:symbol val="circle"/>
            <c:size val="4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1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REACAP!$C$52:$H$52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REACAP!$C$54:$H$54</c:f>
              <c:numCache>
                <c:formatCode>_ * #,##0_)_ ;_ * \(#,##0\)_ ;_ * "-"??_)_ ;_ @_ </c:formatCode>
                <c:ptCount val="6"/>
                <c:pt idx="0">
                  <c:v>79969133</c:v>
                </c:pt>
                <c:pt idx="1">
                  <c:v>120406876</c:v>
                </c:pt>
                <c:pt idx="2">
                  <c:v>109836754</c:v>
                </c:pt>
                <c:pt idx="3">
                  <c:v>149154321</c:v>
                </c:pt>
                <c:pt idx="4">
                  <c:v>116821964</c:v>
                </c:pt>
                <c:pt idx="5">
                  <c:v>2058663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AD5-4442-A29F-B61510072C4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753766768"/>
        <c:axId val="1753349616"/>
      </c:lineChart>
      <c:catAx>
        <c:axId val="1753766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53349616"/>
        <c:crosses val="autoZero"/>
        <c:auto val="1"/>
        <c:lblAlgn val="ctr"/>
        <c:lblOffset val="100"/>
        <c:noMultiLvlLbl val="0"/>
      </c:catAx>
      <c:valAx>
        <c:axId val="1753349616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_ * #,##0_)_ ;_ * \(#,##0\)_ ;_ * &quot;-&quot;??_)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53766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sng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fr-FR" sz="2400" b="0" u="sng" dirty="0"/>
              <a:t>Répartition par type de dépenses  2023</a:t>
            </a:r>
          </a:p>
        </c:rich>
      </c:tx>
      <c:layout>
        <c:manualLayout>
          <c:xMode val="edge"/>
          <c:yMode val="edge"/>
          <c:x val="2.7828324266576422E-3"/>
          <c:y val="2.25461010068875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sng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8362315031499018E-2"/>
          <c:y val="0.12371096074002738"/>
          <c:w val="0.60095800753463979"/>
          <c:h val="0.84851887924444769"/>
        </c:manualLayout>
      </c:layout>
      <c:pie3DChart>
        <c:varyColors val="1"/>
        <c:ser>
          <c:idx val="0"/>
          <c:order val="0"/>
          <c:explosion val="29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1-FBDE-3A44-B0DF-EA2B1A6133E5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3-FBDE-3A44-B0DF-EA2B1A6133E5}"/>
              </c:ext>
            </c:extLst>
          </c:dPt>
          <c:dPt>
            <c:idx val="2"/>
            <c:bubble3D val="0"/>
            <c:spPr>
              <a:solidFill>
                <a:srgbClr val="002060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5-FBDE-3A44-B0DF-EA2B1A6133E5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7-FBDE-3A44-B0DF-EA2B1A6133E5}"/>
              </c:ext>
            </c:extLst>
          </c:dPt>
          <c:dPt>
            <c:idx val="4"/>
            <c:bubble3D val="0"/>
            <c:spPr>
              <a:solidFill>
                <a:srgbClr val="FF0000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9-FBDE-3A44-B0DF-EA2B1A6133E5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B-FBDE-3A44-B0DF-EA2B1A6133E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lt1">
                      <a:lumMod val="95000"/>
                      <a:alpha val="54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REACAP!$M$4:$M$9</c:f>
              <c:strCache>
                <c:ptCount val="6"/>
                <c:pt idx="0">
                  <c:v>INTERVENTIONS CHIRURGICALES</c:v>
                </c:pt>
                <c:pt idx="1">
                  <c:v>RADIOTHERAPIES - CURIETHERAPIES</c:v>
                </c:pt>
                <c:pt idx="2">
                  <c:v>CHIMIOTHERAPIES - MEDICAMENTS - HOSPITALISATIONS</c:v>
                </c:pt>
                <c:pt idx="3">
                  <c:v>ANALYSES - IMMUNO HISTOCHIMIE - BIOPSIES - FOGD - VPA</c:v>
                </c:pt>
                <c:pt idx="4">
                  <c:v>SCANNERS - ECHOGRAPHIES - MAMOGRAPHIES - IRM - RADIOS - ECG - SCINTIGRAPHIES OSSEUSES</c:v>
                </c:pt>
                <c:pt idx="5">
                  <c:v>AUTRES (SEANCE PSYCHOLOGIQUE - BOURSE D'ETUDES DES ETUDIANTS- ENLEVEMENT DON DE MEDICAMENTS)</c:v>
                </c:pt>
              </c:strCache>
            </c:strRef>
          </c:cat>
          <c:val>
            <c:numRef>
              <c:f>REACAP!$N$4:$N$9</c:f>
              <c:numCache>
                <c:formatCode>_-* #,##0\ _€_-;\-* #,##0\ _€_-;_-* "-"??\ _€_-;_-@_-</c:formatCode>
                <c:ptCount val="6"/>
                <c:pt idx="0">
                  <c:v>49370933</c:v>
                </c:pt>
                <c:pt idx="1">
                  <c:v>27851367</c:v>
                </c:pt>
                <c:pt idx="2">
                  <c:v>51552248</c:v>
                </c:pt>
                <c:pt idx="3">
                  <c:v>21373075</c:v>
                </c:pt>
                <c:pt idx="4">
                  <c:v>43931200</c:v>
                </c:pt>
                <c:pt idx="5">
                  <c:v>11787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BDE-3A44-B0DF-EA2B1A6133E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 algn="just">
              <a:defRPr sz="16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 algn="just">
              <a:defRPr sz="14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 algn="just">
              <a:defRPr sz="14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 algn="just">
              <a:defRPr sz="14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 algn="just">
              <a:defRPr sz="14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legendEntry>
      <c:legendEntry>
        <c:idx val="5"/>
        <c:txPr>
          <a:bodyPr rot="0" spcFirstLastPara="1" vertOverflow="ellipsis" vert="horz" wrap="square" anchor="ctr" anchorCtr="1"/>
          <a:lstStyle/>
          <a:p>
            <a:pPr algn="just">
              <a:defRPr sz="14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legendEntry>
      <c:layout>
        <c:manualLayout>
          <c:xMode val="edge"/>
          <c:yMode val="edge"/>
          <c:x val="0.64918329174260281"/>
          <c:y val="6.6267546540984207E-3"/>
          <c:w val="0.32838671961037813"/>
          <c:h val="0.967468460186537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just">
            <a:defRPr sz="12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/>
              <a:t>sex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8078825028377277"/>
          <c:y val="0.22059870144206165"/>
          <c:w val="0.76085075714959316"/>
          <c:h val="0.61269134662665958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'2023'!$G$836</c:f>
              <c:strCache>
                <c:ptCount val="1"/>
                <c:pt idx="0">
                  <c:v>NOMBRES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E729E5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3-0D64-0B48-A478-3EDFC1DA0F8E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D64-0B48-A478-3EDFC1DA0F8E}"/>
              </c:ext>
            </c:extLst>
          </c:dPt>
          <c:cat>
            <c:strRef>
              <c:f>'2023'!$F$837:$F$838</c:f>
              <c:strCache>
                <c:ptCount val="2"/>
                <c:pt idx="0">
                  <c:v>FEMININ</c:v>
                </c:pt>
                <c:pt idx="1">
                  <c:v>MASCULIN</c:v>
                </c:pt>
              </c:strCache>
            </c:strRef>
          </c:cat>
          <c:val>
            <c:numRef>
              <c:f>'2023'!$G$837:$G$838</c:f>
              <c:numCache>
                <c:formatCode>General</c:formatCode>
                <c:ptCount val="2"/>
                <c:pt idx="0">
                  <c:v>693</c:v>
                </c:pt>
                <c:pt idx="1">
                  <c:v>137</c:v>
                </c:pt>
              </c:numCache>
            </c:numRef>
          </c:val>
          <c:shape val="cylinder"/>
          <c:extLst>
            <c:ext xmlns:c16="http://schemas.microsoft.com/office/drawing/2014/chart" uri="{C3380CC4-5D6E-409C-BE32-E72D297353CC}">
              <c16:uniqueId val="{00000002-0D64-0B48-A478-3EDFC1DA0F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844535824"/>
        <c:axId val="1861557056"/>
        <c:axId val="0"/>
      </c:bar3DChart>
      <c:catAx>
        <c:axId val="1844535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1557056"/>
        <c:crosses val="autoZero"/>
        <c:auto val="1"/>
        <c:lblAlgn val="ctr"/>
        <c:lblOffset val="100"/>
        <c:noMultiLvlLbl val="0"/>
      </c:catAx>
      <c:valAx>
        <c:axId val="1861557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44535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RANCHES</a:t>
            </a:r>
            <a:r>
              <a:rPr lang="en-US" baseline="0" dirty="0"/>
              <a:t> D'AGE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view3D>
      <c:rotX val="0"/>
      <c:rotY val="0"/>
      <c:depthPercent val="60"/>
      <c:rAngAx val="0"/>
      <c:perspective val="100"/>
    </c:view3D>
    <c:floor>
      <c:thickness val="0"/>
      <c:spPr>
        <a:solidFill>
          <a:schemeClr val="lt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'2023'!$I$841</c:f>
              <c:strCache>
                <c:ptCount val="1"/>
                <c:pt idx="0">
                  <c:v>NBRE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accent1">
                  <a:lumMod val="75000"/>
                </a:schemeClr>
              </a:solidFill>
              <a:round/>
            </a:ln>
            <a:effectLst/>
            <a:sp3d contourW="9525">
              <a:contourClr>
                <a:schemeClr val="accent1">
                  <a:lumMod val="75000"/>
                </a:schemeClr>
              </a:contourClr>
            </a:sp3d>
          </c:spPr>
          <c:invertIfNegative val="0"/>
          <c:dLbls>
            <c:spPr>
              <a:solidFill>
                <a:prstClr val="black">
                  <a:lumMod val="65000"/>
                  <a:lumOff val="35000"/>
                  <a:alpha val="75000"/>
                </a:prstClr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'2023'!$H$842:$H$848</c:f>
              <c:strCache>
                <c:ptCount val="7"/>
                <c:pt idx="0">
                  <c:v>0- 16 ans</c:v>
                </c:pt>
                <c:pt idx="1">
                  <c:v>17-29ans </c:v>
                </c:pt>
                <c:pt idx="2">
                  <c:v>30-39 ans</c:v>
                </c:pt>
                <c:pt idx="3">
                  <c:v>40- 49 ans</c:v>
                </c:pt>
                <c:pt idx="4">
                  <c:v>50- 69ans </c:v>
                </c:pt>
                <c:pt idx="5">
                  <c:v>60_69ans</c:v>
                </c:pt>
                <c:pt idx="6">
                  <c:v>70 et +</c:v>
                </c:pt>
              </c:strCache>
            </c:strRef>
          </c:cat>
          <c:val>
            <c:numRef>
              <c:f>'2023'!$I$842:$I$848</c:f>
              <c:numCache>
                <c:formatCode>General</c:formatCode>
                <c:ptCount val="7"/>
                <c:pt idx="0">
                  <c:v>23</c:v>
                </c:pt>
                <c:pt idx="1">
                  <c:v>60</c:v>
                </c:pt>
                <c:pt idx="2">
                  <c:v>150</c:v>
                </c:pt>
                <c:pt idx="3">
                  <c:v>207</c:v>
                </c:pt>
                <c:pt idx="4">
                  <c:v>204</c:v>
                </c:pt>
                <c:pt idx="5">
                  <c:v>136</c:v>
                </c:pt>
                <c:pt idx="6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90-134C-BBE9-4C067A3AEE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shape val="box"/>
        <c:axId val="1861406064"/>
        <c:axId val="1862023248"/>
        <c:axId val="0"/>
      </c:bar3DChart>
      <c:catAx>
        <c:axId val="1861406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2023248"/>
        <c:crosses val="autoZero"/>
        <c:auto val="1"/>
        <c:lblAlgn val="ctr"/>
        <c:lblOffset val="100"/>
        <c:noMultiLvlLbl val="0"/>
      </c:catAx>
      <c:valAx>
        <c:axId val="1862023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1406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depthPercent val="60"/>
      <c:rAngAx val="0"/>
      <c:perspective val="100"/>
    </c:view3D>
    <c:floor>
      <c:thickness val="0"/>
      <c:spPr>
        <a:solidFill>
          <a:schemeClr val="lt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'2023'!$G$851</c:f>
              <c:strCache>
                <c:ptCount val="1"/>
                <c:pt idx="0">
                  <c:v>NBRS</c:v>
                </c:pt>
              </c:strCache>
            </c:strRef>
          </c:tx>
          <c:spPr>
            <a:solidFill>
              <a:schemeClr val="accent1">
                <a:lumMod val="50000"/>
                <a:alpha val="85000"/>
              </a:schemeClr>
            </a:solidFill>
            <a:ln w="9525" cap="flat" cmpd="sng" algn="ctr">
              <a:solidFill>
                <a:schemeClr val="accent1">
                  <a:lumMod val="75000"/>
                </a:schemeClr>
              </a:solidFill>
              <a:round/>
            </a:ln>
            <a:effectLst/>
            <a:sp3d contourW="9525">
              <a:contourClr>
                <a:schemeClr val="accent1">
                  <a:lumMod val="75000"/>
                </a:schemeClr>
              </a:contourClr>
            </a:sp3d>
          </c:spPr>
          <c:invertIfNegative val="0"/>
          <c:dLbls>
            <c:dLbl>
              <c:idx val="0"/>
              <c:layout>
                <c:manualLayout>
                  <c:x val="1.0343310118046749E-2"/>
                  <c:y val="0.3179332537804807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3BE-C943-BD3A-E59BE020BFE5}"/>
                </c:ext>
              </c:extLst>
            </c:dLbl>
            <c:dLbl>
              <c:idx val="1"/>
              <c:layout>
                <c:manualLayout>
                  <c:x val="9.1940534382637645E-3"/>
                  <c:y val="0.1003999748780465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3BE-C943-BD3A-E59BE020BFE5}"/>
                </c:ext>
              </c:extLst>
            </c:dLbl>
            <c:dLbl>
              <c:idx val="16"/>
              <c:layout>
                <c:manualLayout>
                  <c:x val="-8.0447967584808128E-3"/>
                  <c:y val="6.135554020325065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3BE-C943-BD3A-E59BE020BF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2023'!$F$852:$F$868</c:f>
              <c:strCache>
                <c:ptCount val="17"/>
                <c:pt idx="0">
                  <c:v>SEIN </c:v>
                </c:pt>
                <c:pt idx="1">
                  <c:v>COL DE L'UTERUS</c:v>
                </c:pt>
                <c:pt idx="2">
                  <c:v>PROSTATE</c:v>
                </c:pt>
                <c:pt idx="3">
                  <c:v>PHARINX</c:v>
                </c:pt>
                <c:pt idx="4">
                  <c:v>OVAIRE </c:v>
                </c:pt>
                <c:pt idx="5">
                  <c:v>RECTUM</c:v>
                </c:pt>
                <c:pt idx="6">
                  <c:v>COLON </c:v>
                </c:pt>
                <c:pt idx="7">
                  <c:v>ŒSOPHAGE </c:v>
                </c:pt>
                <c:pt idx="8">
                  <c:v>CAVUM</c:v>
                </c:pt>
                <c:pt idx="9">
                  <c:v>GASTRIQUE</c:v>
                </c:pt>
                <c:pt idx="10">
                  <c:v>LARYNX</c:v>
                </c:pt>
                <c:pt idx="11">
                  <c:v>PANCREAS </c:v>
                </c:pt>
                <c:pt idx="12">
                  <c:v>LYMPHOME</c:v>
                </c:pt>
                <c:pt idx="13">
                  <c:v>ENDOMETRE</c:v>
                </c:pt>
                <c:pt idx="14">
                  <c:v>FOIE</c:v>
                </c:pt>
                <c:pt idx="15">
                  <c:v>POUMON </c:v>
                </c:pt>
                <c:pt idx="16">
                  <c:v>AUTRES</c:v>
                </c:pt>
              </c:strCache>
            </c:strRef>
          </c:cat>
          <c:val>
            <c:numRef>
              <c:f>'2023'!$G$852:$G$868</c:f>
              <c:numCache>
                <c:formatCode>General</c:formatCode>
                <c:ptCount val="17"/>
                <c:pt idx="0">
                  <c:v>392</c:v>
                </c:pt>
                <c:pt idx="1">
                  <c:v>145</c:v>
                </c:pt>
                <c:pt idx="2">
                  <c:v>35</c:v>
                </c:pt>
                <c:pt idx="3">
                  <c:v>35</c:v>
                </c:pt>
                <c:pt idx="4">
                  <c:v>27</c:v>
                </c:pt>
                <c:pt idx="5">
                  <c:v>26</c:v>
                </c:pt>
                <c:pt idx="6">
                  <c:v>12</c:v>
                </c:pt>
                <c:pt idx="7">
                  <c:v>11</c:v>
                </c:pt>
                <c:pt idx="8">
                  <c:v>9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  <c:pt idx="12">
                  <c:v>6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93</c:v>
                </c:pt>
              </c:numCache>
            </c:numRef>
          </c:val>
          <c:shape val="cylinder"/>
          <c:extLst>
            <c:ext xmlns:c16="http://schemas.microsoft.com/office/drawing/2014/chart" uri="{C3380CC4-5D6E-409C-BE32-E72D297353CC}">
              <c16:uniqueId val="{00000000-1CB8-4D47-A336-BB9A7A65E5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shape val="box"/>
        <c:axId val="1845289920"/>
        <c:axId val="1845330320"/>
        <c:axId val="0"/>
      </c:bar3DChart>
      <c:catAx>
        <c:axId val="1845289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Book Antiqua" panose="02040602050305030304" pitchFamily="18" charset="0"/>
                <a:ea typeface="+mn-ea"/>
                <a:cs typeface="+mn-cs"/>
              </a:defRPr>
            </a:pPr>
            <a:endParaRPr lang="fr-FR"/>
          </a:p>
        </c:txPr>
        <c:crossAx val="1845330320"/>
        <c:crosses val="autoZero"/>
        <c:auto val="1"/>
        <c:lblAlgn val="ctr"/>
        <c:lblOffset val="100"/>
        <c:noMultiLvlLbl val="0"/>
      </c:catAx>
      <c:valAx>
        <c:axId val="1845330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45289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68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94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/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dk1">
            <a:lumMod val="60000"/>
            <a:lumOff val="4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/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8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sp3d/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/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8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sp3d/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/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7F6053-9153-6445-ACC1-F1945C5368AC}" type="datetimeFigureOut">
              <a:rPr lang="fr-FR" smtClean="0"/>
              <a:pPr/>
              <a:t>25/05/2024</a:t>
            </a:fld>
            <a:endParaRPr lang="fr-FR" dirty="0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19725B-CC02-C34F-A1F0-8F17D38AAC6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114521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9725B-CC02-C34F-A1F0-8F17D38AAC66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035873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9725B-CC02-C34F-A1F0-8F17D38AAC66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8486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19725B-CC02-C34F-A1F0-8F17D38AAC66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21469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19725B-CC02-C34F-A1F0-8F17D38AAC66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9579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19725B-CC02-C34F-A1F0-8F17D38AAC66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55350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19725B-CC02-C34F-A1F0-8F17D38AAC66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131541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19725B-CC02-C34F-A1F0-8F17D38AAC66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82755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19725B-CC02-C34F-A1F0-8F17D38AAC66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646930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19725B-CC02-C34F-A1F0-8F17D38AAC66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11752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9725B-CC02-C34F-A1F0-8F17D38AAC66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9861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6A9C1-0956-468C-9999-070CEE875E87}" type="datetimeFigureOut">
              <a:rPr lang="fr-FR" smtClean="0"/>
              <a:pPr/>
              <a:t>25/05/2024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11C21-9F18-4C3A-964D-3B88FA334A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986573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6A9C1-0956-468C-9999-070CEE875E87}" type="datetimeFigureOut">
              <a:rPr lang="fr-FR" smtClean="0"/>
              <a:pPr/>
              <a:t>25/05/2024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11C21-9F18-4C3A-964D-3B88FA334A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069645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6A9C1-0956-468C-9999-070CEE875E87}" type="datetimeFigureOut">
              <a:rPr lang="fr-FR" smtClean="0"/>
              <a:pPr/>
              <a:t>25/05/2024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11C21-9F18-4C3A-964D-3B88FA334A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49275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5DFBDA-0DB7-4306-9500-580B25BB84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667479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5DFBDA-0DB7-4306-9500-580B25BB84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2"/>
          <p:cNvSpPr txBox="1">
            <a:spLocks noChangeArrowheads="1"/>
          </p:cNvSpPr>
          <p:nvPr userDrawn="1"/>
        </p:nvSpPr>
        <p:spPr bwMode="gray">
          <a:xfrm>
            <a:off x="-35171" y="0"/>
            <a:ext cx="12227172" cy="1060704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685783" rtl="0" eaLnBrk="1" latinLnBrk="0" hangingPunct="1">
              <a:spcBef>
                <a:spcPct val="0"/>
              </a:spcBef>
              <a:buNone/>
              <a:defRPr sz="21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113" marR="0" lvl="0" indent="-11113" algn="l" defTabSz="6857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59249E6E-5002-4A57-AB27-F1AB0996FCD6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/05/2024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47200" y="6492882"/>
            <a:ext cx="2844800" cy="365125"/>
          </a:xfrm>
        </p:spPr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AEE9E37A-4EAF-44F7-BC9F-FB713F1B08BE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17D593F-F95A-4F36-AD40-A3CBC772EF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72371"/>
            <a:ext cx="11150600" cy="715962"/>
          </a:xfrm>
        </p:spPr>
        <p:txBody>
          <a:bodyPr vert="horz">
            <a:noAutofit/>
          </a:bodyPr>
          <a:lstStyle>
            <a:lvl1pPr algn="l" rtl="0"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078989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6A9C1-0956-468C-9999-070CEE875E87}" type="datetimeFigureOut">
              <a:rPr lang="fr-FR" smtClean="0"/>
              <a:pPr/>
              <a:t>25/05/2024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11C21-9F18-4C3A-964D-3B88FA334A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969413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6A9C1-0956-468C-9999-070CEE875E87}" type="datetimeFigureOut">
              <a:rPr lang="fr-FR" smtClean="0"/>
              <a:pPr/>
              <a:t>25/05/2024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11C21-9F18-4C3A-964D-3B88FA334A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16746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6A9C1-0956-468C-9999-070CEE875E87}" type="datetimeFigureOut">
              <a:rPr lang="fr-FR" smtClean="0"/>
              <a:pPr/>
              <a:t>25/05/2024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11C21-9F18-4C3A-964D-3B88FA334A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522413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6A9C1-0956-468C-9999-070CEE875E87}" type="datetimeFigureOut">
              <a:rPr lang="fr-FR" smtClean="0"/>
              <a:pPr/>
              <a:t>25/05/2024</a:t>
            </a:fld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11C21-9F18-4C3A-964D-3B88FA334A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86048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6A9C1-0956-468C-9999-070CEE875E87}" type="datetimeFigureOut">
              <a:rPr lang="fr-FR" smtClean="0"/>
              <a:pPr/>
              <a:t>25/05/2024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11C21-9F18-4C3A-964D-3B88FA334A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3763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6A9C1-0956-468C-9999-070CEE875E87}" type="datetimeFigureOut">
              <a:rPr lang="fr-FR" smtClean="0"/>
              <a:pPr/>
              <a:t>25/05/2024</a:t>
            </a:fld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11C21-9F18-4C3A-964D-3B88FA334A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536834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6A9C1-0956-468C-9999-070CEE875E87}" type="datetimeFigureOut">
              <a:rPr lang="fr-FR" smtClean="0"/>
              <a:pPr/>
              <a:t>25/05/2024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11C21-9F18-4C3A-964D-3B88FA334A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030018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6A9C1-0956-468C-9999-070CEE875E87}" type="datetimeFigureOut">
              <a:rPr lang="fr-FR" smtClean="0"/>
              <a:pPr/>
              <a:t>25/05/2024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11C21-9F18-4C3A-964D-3B88FA334A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343631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46A9C1-0956-468C-9999-070CEE875E87}" type="datetimeFigureOut">
              <a:rPr lang="fr-FR" smtClean="0"/>
              <a:pPr/>
              <a:t>25/05/2024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F11C21-9F18-4C3A-964D-3B88FA334A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78774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g"/><Relationship Id="rId5" Type="http://schemas.openxmlformats.org/officeDocument/2006/relationships/image" Target="../media/image9.jpg"/><Relationship Id="rId4" Type="http://schemas.openxmlformats.org/officeDocument/2006/relationships/image" Target="../media/image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3.jpeg"/><Relationship Id="rId7" Type="http://schemas.openxmlformats.org/officeDocument/2006/relationships/image" Target="../media/image25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30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42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image" Target="../media/image3.jpeg"/><Relationship Id="rId7" Type="http://schemas.openxmlformats.org/officeDocument/2006/relationships/image" Target="../media/image46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3.jpeg"/><Relationship Id="rId7" Type="http://schemas.openxmlformats.org/officeDocument/2006/relationships/image" Target="../media/image5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eg"/><Relationship Id="rId9" Type="http://schemas.openxmlformats.org/officeDocument/2006/relationships/image" Target="../media/image5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image" Target="../media/image3.jpeg"/><Relationship Id="rId7" Type="http://schemas.openxmlformats.org/officeDocument/2006/relationships/image" Target="../media/image5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jpeg"/><Relationship Id="rId11" Type="http://schemas.openxmlformats.org/officeDocument/2006/relationships/image" Target="../media/image61.jpeg"/><Relationship Id="rId5" Type="http://schemas.openxmlformats.org/officeDocument/2006/relationships/image" Target="../media/image55.jpeg"/><Relationship Id="rId10" Type="http://schemas.openxmlformats.org/officeDocument/2006/relationships/image" Target="../media/image60.jpeg"/><Relationship Id="rId4" Type="http://schemas.openxmlformats.org/officeDocument/2006/relationships/image" Target="../media/image54.jpeg"/><Relationship Id="rId9" Type="http://schemas.openxmlformats.org/officeDocument/2006/relationships/image" Target="../media/image59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3.jpeg"/><Relationship Id="rId4" Type="http://schemas.openxmlformats.org/officeDocument/2006/relationships/image" Target="../media/image62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8.png"/><Relationship Id="rId5" Type="http://schemas.openxmlformats.org/officeDocument/2006/relationships/image" Target="../media/image67.jpeg"/><Relationship Id="rId4" Type="http://schemas.openxmlformats.org/officeDocument/2006/relationships/image" Target="../media/image6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1.jpeg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72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0.png"/><Relationship Id="rId5" Type="http://schemas.openxmlformats.org/officeDocument/2006/relationships/image" Target="../media/image79.jpeg"/><Relationship Id="rId4" Type="http://schemas.openxmlformats.org/officeDocument/2006/relationships/image" Target="../media/image7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3.jpeg"/><Relationship Id="rId5" Type="http://schemas.openxmlformats.org/officeDocument/2006/relationships/image" Target="../media/image82.jpeg"/><Relationship Id="rId4" Type="http://schemas.openxmlformats.org/officeDocument/2006/relationships/image" Target="../media/image81.jpe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jpg"/><Relationship Id="rId3" Type="http://schemas.openxmlformats.org/officeDocument/2006/relationships/image" Target="../media/image3.jpeg"/><Relationship Id="rId7" Type="http://schemas.openxmlformats.org/officeDocument/2006/relationships/image" Target="../media/image87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6.jpg"/><Relationship Id="rId5" Type="http://schemas.openxmlformats.org/officeDocument/2006/relationships/image" Target="../media/image85.jpg"/><Relationship Id="rId10" Type="http://schemas.openxmlformats.org/officeDocument/2006/relationships/image" Target="../media/image90.jpg"/><Relationship Id="rId4" Type="http://schemas.openxmlformats.org/officeDocument/2006/relationships/image" Target="../media/image84.jpg"/><Relationship Id="rId9" Type="http://schemas.openxmlformats.org/officeDocument/2006/relationships/image" Target="../media/image89.jp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2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93.png"/><Relationship Id="rId4" Type="http://schemas.openxmlformats.org/officeDocument/2006/relationships/image" Target="../media/image92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jpeg"/><Relationship Id="rId3" Type="http://schemas.openxmlformats.org/officeDocument/2006/relationships/image" Target="../media/image3.jpeg"/><Relationship Id="rId7" Type="http://schemas.openxmlformats.org/officeDocument/2006/relationships/image" Target="../media/image9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6.jpeg"/><Relationship Id="rId5" Type="http://schemas.openxmlformats.org/officeDocument/2006/relationships/image" Target="../media/image95.jpeg"/><Relationship Id="rId4" Type="http://schemas.openxmlformats.org/officeDocument/2006/relationships/image" Target="../media/image94.jpe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jpeg"/><Relationship Id="rId3" Type="http://schemas.openxmlformats.org/officeDocument/2006/relationships/image" Target="../media/image3.jpeg"/><Relationship Id="rId7" Type="http://schemas.openxmlformats.org/officeDocument/2006/relationships/image" Target="../media/image101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100.jpeg"/><Relationship Id="rId4" Type="http://schemas.openxmlformats.org/officeDocument/2006/relationships/image" Target="../media/image99.jpe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image" Target="../media/image3.jpeg"/><Relationship Id="rId7" Type="http://schemas.openxmlformats.org/officeDocument/2006/relationships/image" Target="../media/image106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5.jpeg"/><Relationship Id="rId5" Type="http://schemas.openxmlformats.org/officeDocument/2006/relationships/image" Target="../media/image104.jpeg"/><Relationship Id="rId4" Type="http://schemas.openxmlformats.org/officeDocument/2006/relationships/image" Target="../media/image103.jpeg"/><Relationship Id="rId9" Type="http://schemas.openxmlformats.org/officeDocument/2006/relationships/image" Target="../media/image10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jpeg"/><Relationship Id="rId3" Type="http://schemas.openxmlformats.org/officeDocument/2006/relationships/image" Target="../media/image3.jpeg"/><Relationship Id="rId7" Type="http://schemas.openxmlformats.org/officeDocument/2006/relationships/image" Target="../media/image112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1.jpeg"/><Relationship Id="rId5" Type="http://schemas.openxmlformats.org/officeDocument/2006/relationships/image" Target="../media/image110.jpeg"/><Relationship Id="rId4" Type="http://schemas.openxmlformats.org/officeDocument/2006/relationships/image" Target="../media/image109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1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6.jpeg"/><Relationship Id="rId5" Type="http://schemas.openxmlformats.org/officeDocument/2006/relationships/image" Target="../media/image115.jpeg"/><Relationship Id="rId4" Type="http://schemas.openxmlformats.org/officeDocument/2006/relationships/image" Target="../media/image114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g"/><Relationship Id="rId2" Type="http://schemas.openxmlformats.org/officeDocument/2006/relationships/image" Target="../media/image118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2.jpg"/><Relationship Id="rId5" Type="http://schemas.openxmlformats.org/officeDocument/2006/relationships/image" Target="../media/image121.jpg"/><Relationship Id="rId4" Type="http://schemas.openxmlformats.org/officeDocument/2006/relationships/image" Target="../media/image120.jp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jp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26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25.jpg"/><Relationship Id="rId5" Type="http://schemas.openxmlformats.org/officeDocument/2006/relationships/image" Target="../media/image124.jpg"/><Relationship Id="rId4" Type="http://schemas.openxmlformats.org/officeDocument/2006/relationships/image" Target="../media/image123.jp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8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0.jpeg"/><Relationship Id="rId4" Type="http://schemas.openxmlformats.org/officeDocument/2006/relationships/image" Target="../media/image129.jpe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g"/><Relationship Id="rId7" Type="http://schemas.openxmlformats.org/officeDocument/2006/relationships/image" Target="../media/image135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4.jpg"/><Relationship Id="rId5" Type="http://schemas.openxmlformats.org/officeDocument/2006/relationships/image" Target="../media/image133.jpg"/><Relationship Id="rId4" Type="http://schemas.openxmlformats.org/officeDocument/2006/relationships/image" Target="../media/image132.jp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4.jpg"/><Relationship Id="rId4" Type="http://schemas.openxmlformats.org/officeDocument/2006/relationships/image" Target="../media/image138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jpeg"/><Relationship Id="rId7" Type="http://schemas.openxmlformats.org/officeDocument/2006/relationships/image" Target="../media/image143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2.jpg"/><Relationship Id="rId5" Type="http://schemas.openxmlformats.org/officeDocument/2006/relationships/image" Target="../media/image141.jpg"/><Relationship Id="rId4" Type="http://schemas.openxmlformats.org/officeDocument/2006/relationships/image" Target="../media/image140.jpe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jpg"/><Relationship Id="rId7" Type="http://schemas.openxmlformats.org/officeDocument/2006/relationships/image" Target="../media/image148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7.jpg"/><Relationship Id="rId5" Type="http://schemas.openxmlformats.org/officeDocument/2006/relationships/image" Target="../media/image146.jpg"/><Relationship Id="rId4" Type="http://schemas.openxmlformats.org/officeDocument/2006/relationships/image" Target="../media/image145.jp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9.jpg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3.jpeg"/><Relationship Id="rId4" Type="http://schemas.openxmlformats.org/officeDocument/2006/relationships/image" Target="../media/image152.jpe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56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155.png"/><Relationship Id="rId5" Type="http://schemas.openxmlformats.org/officeDocument/2006/relationships/image" Target="../media/image154.png"/><Relationship Id="rId4" Type="http://schemas.openxmlformats.org/officeDocument/2006/relationships/image" Target="../media/image1.emf"/><Relationship Id="rId9" Type="http://schemas.openxmlformats.org/officeDocument/2006/relationships/image" Target="../media/image158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2.jp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61.jp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160.jpg"/><Relationship Id="rId5" Type="http://schemas.openxmlformats.org/officeDocument/2006/relationships/image" Target="../media/image159.jpg"/><Relationship Id="rId4" Type="http://schemas.openxmlformats.org/officeDocument/2006/relationships/image" Target="../media/image1.emf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6.jp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65.jp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164.jpg"/><Relationship Id="rId5" Type="http://schemas.openxmlformats.org/officeDocument/2006/relationships/image" Target="../media/image163.jpg"/><Relationship Id="rId4" Type="http://schemas.openxmlformats.org/officeDocument/2006/relationships/image" Target="../media/image1.emf"/><Relationship Id="rId9" Type="http://schemas.openxmlformats.org/officeDocument/2006/relationships/image" Target="../media/image167.jp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2.jpeg"/><Relationship Id="rId3" Type="http://schemas.openxmlformats.org/officeDocument/2006/relationships/image" Target="../media/image3.jpeg"/><Relationship Id="rId7" Type="http://schemas.openxmlformats.org/officeDocument/2006/relationships/image" Target="../media/image17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0.jpeg"/><Relationship Id="rId5" Type="http://schemas.openxmlformats.org/officeDocument/2006/relationships/image" Target="../media/image169.jpeg"/><Relationship Id="rId4" Type="http://schemas.openxmlformats.org/officeDocument/2006/relationships/image" Target="../media/image16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6.png"/><Relationship Id="rId5" Type="http://schemas.openxmlformats.org/officeDocument/2006/relationships/image" Target="../media/image175.jpg"/><Relationship Id="rId4" Type="http://schemas.openxmlformats.org/officeDocument/2006/relationships/image" Target="../media/image174.jpeg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1.png"/><Relationship Id="rId3" Type="http://schemas.openxmlformats.org/officeDocument/2006/relationships/image" Target="../media/image3.jpeg"/><Relationship Id="rId7" Type="http://schemas.openxmlformats.org/officeDocument/2006/relationships/image" Target="../media/image180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9.jpg"/><Relationship Id="rId5" Type="http://schemas.openxmlformats.org/officeDocument/2006/relationships/image" Target="../media/image178.jpeg"/><Relationship Id="rId4" Type="http://schemas.openxmlformats.org/officeDocument/2006/relationships/image" Target="../media/image177.jpeg"/><Relationship Id="rId9" Type="http://schemas.openxmlformats.org/officeDocument/2006/relationships/image" Target="../media/image182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4.jp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86.jpeg"/><Relationship Id="rId5" Type="http://schemas.openxmlformats.org/officeDocument/2006/relationships/image" Target="../media/image185.jpeg"/><Relationship Id="rId4" Type="http://schemas.openxmlformats.org/officeDocument/2006/relationships/image" Target="../media/image3.jpe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8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0.jpeg"/><Relationship Id="rId5" Type="http://schemas.openxmlformats.org/officeDocument/2006/relationships/image" Target="../media/image189.jpeg"/><Relationship Id="rId4" Type="http://schemas.openxmlformats.org/officeDocument/2006/relationships/image" Target="../media/image188.jpe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3.png"/><Relationship Id="rId5" Type="http://schemas.openxmlformats.org/officeDocument/2006/relationships/image" Target="../media/image192.JPG"/><Relationship Id="rId4" Type="http://schemas.openxmlformats.org/officeDocument/2006/relationships/image" Target="../media/image191.jpe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5.jpeg"/><Relationship Id="rId4" Type="http://schemas.openxmlformats.org/officeDocument/2006/relationships/image" Target="../media/image194.jpeg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0.jpeg"/><Relationship Id="rId3" Type="http://schemas.openxmlformats.org/officeDocument/2006/relationships/image" Target="../media/image3.jpeg"/><Relationship Id="rId7" Type="http://schemas.openxmlformats.org/officeDocument/2006/relationships/image" Target="../media/image199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8.png"/><Relationship Id="rId5" Type="http://schemas.openxmlformats.org/officeDocument/2006/relationships/image" Target="../media/image197.jpeg"/><Relationship Id="rId4" Type="http://schemas.openxmlformats.org/officeDocument/2006/relationships/image" Target="../media/image196.jpe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2.jpeg"/><Relationship Id="rId4" Type="http://schemas.openxmlformats.org/officeDocument/2006/relationships/image" Target="../media/image20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4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7.jpeg"/><Relationship Id="rId3" Type="http://schemas.openxmlformats.org/officeDocument/2006/relationships/image" Target="../media/image3.jpeg"/><Relationship Id="rId7" Type="http://schemas.openxmlformats.org/officeDocument/2006/relationships/image" Target="../media/image206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5.jpeg"/><Relationship Id="rId5" Type="http://schemas.openxmlformats.org/officeDocument/2006/relationships/image" Target="../media/image204.jpeg"/><Relationship Id="rId4" Type="http://schemas.openxmlformats.org/officeDocument/2006/relationships/image" Target="../media/image203.jpe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0.jpeg"/><Relationship Id="rId5" Type="http://schemas.openxmlformats.org/officeDocument/2006/relationships/image" Target="../media/image209.jpeg"/><Relationship Id="rId4" Type="http://schemas.openxmlformats.org/officeDocument/2006/relationships/image" Target="../media/image208.jpe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1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4.jpg"/><Relationship Id="rId5" Type="http://schemas.openxmlformats.org/officeDocument/2006/relationships/image" Target="../media/image213.jpeg"/><Relationship Id="rId4" Type="http://schemas.openxmlformats.org/officeDocument/2006/relationships/image" Target="../media/image212.jp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17.jpg"/><Relationship Id="rId4" Type="http://schemas.openxmlformats.org/officeDocument/2006/relationships/image" Target="../media/image216.jpe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0.jpeg"/><Relationship Id="rId4" Type="http://schemas.openxmlformats.org/officeDocument/2006/relationships/image" Target="../media/image219.jpe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1.tif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2.jpe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jpeg"/><Relationship Id="rId7" Type="http://schemas.openxmlformats.org/officeDocument/2006/relationships/image" Target="../media/image226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5.jpeg"/><Relationship Id="rId5" Type="http://schemas.openxmlformats.org/officeDocument/2006/relationships/image" Target="../media/image224.jpeg"/><Relationship Id="rId4" Type="http://schemas.openxmlformats.org/officeDocument/2006/relationships/image" Target="../media/image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171951" y="361449"/>
            <a:ext cx="439019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0070C0"/>
                </a:solidFill>
                <a:latin typeface="Bank Gothic Medium" pitchFamily="2" charset="77"/>
              </a:rPr>
              <a:t>Ensemble, vaincre le cancer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6915151" y="5412536"/>
            <a:ext cx="46893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rgbClr val="FF3399"/>
                </a:solidFill>
                <a:latin typeface="Bank Gothic Medium" pitchFamily="2" charset="77"/>
              </a:rPr>
              <a:t>TOGETHER, DEFEATING CANCER</a:t>
            </a:r>
            <a:endParaRPr lang="fr-FR" sz="2800" dirty="0">
              <a:latin typeface="Bank Gothic Medium" pitchFamily="2" charset="77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112589" y="6366643"/>
            <a:ext cx="121919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fr-FR" sz="1600" b="1" dirty="0">
              <a:latin typeface="Book Antiqua" pitchFamily="18" charset="0"/>
              <a:ea typeface="Calibri" pitchFamily="34" charset="0"/>
              <a:cs typeface="Times New Roman" pitchFamily="18" charset="0"/>
            </a:endParaRPr>
          </a:p>
          <a:p>
            <a:pPr algn="ctr"/>
            <a:r>
              <a:rPr lang="fr-FR" sz="1200" dirty="0">
                <a:latin typeface="Bank Gothic Medium" pitchFamily="2" charset="77"/>
                <a:ea typeface="Calibri" pitchFamily="34" charset="0"/>
                <a:cs typeface="Times New Roman" pitchFamily="18" charset="0"/>
              </a:rPr>
              <a:t>Siège social: N°9994 Sacré Cœur 3    Tél : +221 33 827 30 85    BP : 64 345 Dakar Sacré Cœur 3   </a:t>
            </a:r>
          </a:p>
          <a:p>
            <a:pPr algn="ctr"/>
            <a:r>
              <a:rPr lang="fr-FR" sz="1200" dirty="0">
                <a:latin typeface="Bank Gothic Medium" pitchFamily="2" charset="77"/>
                <a:ea typeface="Calibri" pitchFamily="34" charset="0"/>
                <a:cs typeface="Times New Roman" pitchFamily="18" charset="0"/>
              </a:rPr>
              <a:t> </a:t>
            </a:r>
            <a:endParaRPr lang="fr-FR" dirty="0"/>
          </a:p>
        </p:txBody>
      </p:sp>
      <p:pic>
        <p:nvPicPr>
          <p:cNvPr id="1026" name="Picture 2" descr="Sénégal /Octobre rose : la LISCA à l'assaut du cancer du sein | Les  africaines">
            <a:extLst>
              <a:ext uri="{FF2B5EF4-FFF2-40B4-BE49-F238E27FC236}">
                <a16:creationId xmlns:a16="http://schemas.microsoft.com/office/drawing/2014/main" id="{92483A48-EC23-6C7A-046F-1514F9B14B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3677" y="3014395"/>
            <a:ext cx="4981474" cy="345221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 4" descr="https://scontent.fdkr1-1.fna.fbcdn.net/t31.0-8/14524469_949824575123075_8304302802284914510_o.jpg">
            <a:extLst>
              <a:ext uri="{FF2B5EF4-FFF2-40B4-BE49-F238E27FC236}">
                <a16:creationId xmlns:a16="http://schemas.microsoft.com/office/drawing/2014/main" id="{A394580D-15BF-0E6F-3870-635780D31CA7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 bwMode="auto">
          <a:xfrm>
            <a:off x="81014" y="1379114"/>
            <a:ext cx="4343400" cy="270391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8FD7174-3CD0-FE86-5DB1-A150C51E250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027" y="1321978"/>
            <a:ext cx="4981474" cy="3320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6334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057706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71432" y="164129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5503333" y="164129"/>
            <a:ext cx="2535126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>
                <a:solidFill>
                  <a:srgbClr val="0070C0"/>
                </a:solidFill>
                <a:latin typeface="Calibri" panose="020F0502020204030204" pitchFamily="34" charset="0"/>
              </a:rPr>
              <a:t>2023</a:t>
            </a:r>
            <a:endParaRPr lang="fr-FR" sz="3200" b="1" dirty="0">
              <a:solidFill>
                <a:srgbClr val="0070C0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7398072" y="6313378"/>
            <a:ext cx="1846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sz="1400" b="1" dirty="0">
              <a:solidFill>
                <a:schemeClr val="tx1"/>
              </a:solidFill>
            </a:endParaRPr>
          </a:p>
          <a:p>
            <a:endParaRPr lang="fr-FR" sz="1400" dirty="0"/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81E412DB-75B0-125F-F6D8-1D46088951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8781236"/>
              </p:ext>
            </p:extLst>
          </p:nvPr>
        </p:nvGraphicFramePr>
        <p:xfrm>
          <a:off x="171431" y="1490130"/>
          <a:ext cx="4200544" cy="2330448"/>
        </p:xfrm>
        <a:graphic>
          <a:graphicData uri="http://schemas.openxmlformats.org/drawingml/2006/table">
            <a:tbl>
              <a:tblPr/>
              <a:tblGrid>
                <a:gridCol w="2100272">
                  <a:extLst>
                    <a:ext uri="{9D8B030D-6E8A-4147-A177-3AD203B41FA5}">
                      <a16:colId xmlns:a16="http://schemas.microsoft.com/office/drawing/2014/main" val="2599173134"/>
                    </a:ext>
                  </a:extLst>
                </a:gridCol>
                <a:gridCol w="2100272">
                  <a:extLst>
                    <a:ext uri="{9D8B030D-6E8A-4147-A177-3AD203B41FA5}">
                      <a16:colId xmlns:a16="http://schemas.microsoft.com/office/drawing/2014/main" val="3579945786"/>
                    </a:ext>
                  </a:extLst>
                </a:gridCol>
              </a:tblGrid>
              <a:tr h="5826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X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MBR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070162"/>
                  </a:ext>
                </a:extLst>
              </a:tr>
              <a:tr h="5826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EMINI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2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2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205224"/>
                  </a:ext>
                </a:extLst>
              </a:tr>
              <a:tr h="5826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SCULI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3601751"/>
                  </a:ext>
                </a:extLst>
              </a:tr>
              <a:tr h="5826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8392440"/>
                  </a:ext>
                </a:extLst>
              </a:tr>
            </a:tbl>
          </a:graphicData>
        </a:graphic>
      </p:graphicFrame>
      <p:graphicFrame>
        <p:nvGraphicFramePr>
          <p:cNvPr id="12" name="Graphique 11">
            <a:extLst>
              <a:ext uri="{FF2B5EF4-FFF2-40B4-BE49-F238E27FC236}">
                <a16:creationId xmlns:a16="http://schemas.microsoft.com/office/drawing/2014/main" id="{F074517E-7E4E-B2AC-7B2B-01FA888DDB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2439849"/>
              </p:ext>
            </p:extLst>
          </p:nvPr>
        </p:nvGraphicFramePr>
        <p:xfrm>
          <a:off x="223408" y="4202646"/>
          <a:ext cx="4200544" cy="249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Graphique 12">
            <a:extLst>
              <a:ext uri="{FF2B5EF4-FFF2-40B4-BE49-F238E27FC236}">
                <a16:creationId xmlns:a16="http://schemas.microsoft.com/office/drawing/2014/main" id="{3625680F-EEF9-DC80-FA94-DE0E104F8C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8938036"/>
              </p:ext>
            </p:extLst>
          </p:nvPr>
        </p:nvGraphicFramePr>
        <p:xfrm>
          <a:off x="4793929" y="1622076"/>
          <a:ext cx="7226640" cy="4397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546517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71432" y="164129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5503333" y="164129"/>
            <a:ext cx="2535126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>
                <a:solidFill>
                  <a:srgbClr val="0070C0"/>
                </a:solidFill>
                <a:latin typeface="Calibri" panose="020F0502020204030204" pitchFamily="34" charset="0"/>
              </a:rPr>
              <a:t>2023</a:t>
            </a:r>
            <a:endParaRPr lang="fr-FR" sz="3200" b="1" dirty="0">
              <a:solidFill>
                <a:srgbClr val="0070C0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7398072" y="6313378"/>
            <a:ext cx="1846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sz="1400" b="1" dirty="0">
              <a:solidFill>
                <a:schemeClr val="tx1"/>
              </a:solidFill>
            </a:endParaRPr>
          </a:p>
          <a:p>
            <a:endParaRPr lang="fr-FR" sz="1400" dirty="0"/>
          </a:p>
        </p:txBody>
      </p:sp>
      <p:graphicFrame>
        <p:nvGraphicFramePr>
          <p:cNvPr id="2" name="Graphique 1">
            <a:extLst>
              <a:ext uri="{FF2B5EF4-FFF2-40B4-BE49-F238E27FC236}">
                <a16:creationId xmlns:a16="http://schemas.microsoft.com/office/drawing/2014/main" id="{C88B428B-D1A1-9B2D-3F7A-DDD2116F0E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0144050"/>
              </p:ext>
            </p:extLst>
          </p:nvPr>
        </p:nvGraphicFramePr>
        <p:xfrm>
          <a:off x="992221" y="2140085"/>
          <a:ext cx="11050621" cy="45537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0F75F6E2-3979-3AEB-4B0E-601EE39C303B}"/>
              </a:ext>
            </a:extLst>
          </p:cNvPr>
          <p:cNvSpPr txBox="1"/>
          <p:nvPr/>
        </p:nvSpPr>
        <p:spPr>
          <a:xfrm>
            <a:off x="171432" y="1431492"/>
            <a:ext cx="5036405" cy="46166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2400" b="1" dirty="0"/>
              <a:t>LOCALISATIONS</a:t>
            </a:r>
          </a:p>
        </p:txBody>
      </p:sp>
    </p:spTree>
    <p:extLst>
      <p:ext uri="{BB962C8B-B14F-4D97-AF65-F5344CB8AC3E}">
        <p14:creationId xmlns:p14="http://schemas.microsoft.com/office/powerpoint/2010/main" val="20970372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1049939" y="1498089"/>
            <a:ext cx="343908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Patient Support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6168247" y="1693479"/>
            <a:ext cx="2692404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Type de prise en charge</a:t>
            </a:r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/>
          <p:cNvSpPr txBox="1"/>
          <p:nvPr/>
        </p:nvSpPr>
        <p:spPr>
          <a:xfrm>
            <a:off x="1196158" y="2884778"/>
            <a:ext cx="7722989" cy="3892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85750">
              <a:lnSpc>
                <a:spcPct val="200000"/>
              </a:lnSpc>
              <a:buFont typeface="Wingdings" charset="2"/>
              <a:buChar char="u"/>
            </a:pPr>
            <a:r>
              <a:rPr lang="fr-FR" dirty="0"/>
              <a:t>ÉVALUATION DIAGNOSTIQUE :   </a:t>
            </a:r>
          </a:p>
          <a:p>
            <a:pPr indent="-285750">
              <a:lnSpc>
                <a:spcPct val="200000"/>
              </a:lnSpc>
              <a:buFont typeface="Wingdings" charset="2"/>
              <a:buChar char="u"/>
            </a:pPr>
            <a:r>
              <a:rPr lang="fr-FR" dirty="0"/>
              <a:t>ANALYSES</a:t>
            </a:r>
          </a:p>
          <a:p>
            <a:pPr indent="-285750">
              <a:lnSpc>
                <a:spcPct val="200000"/>
              </a:lnSpc>
              <a:buFont typeface="Wingdings" charset="2"/>
              <a:buChar char="u"/>
            </a:pPr>
            <a:r>
              <a:rPr lang="fr-FR" dirty="0"/>
              <a:t>CYTOLOGIE, HISTOLOGIE</a:t>
            </a:r>
          </a:p>
          <a:p>
            <a:pPr indent="-285750">
              <a:lnSpc>
                <a:spcPct val="200000"/>
              </a:lnSpc>
              <a:buFont typeface="Wingdings" charset="2"/>
              <a:buChar char="u"/>
            </a:pPr>
            <a:r>
              <a:rPr lang="fr-FR" dirty="0"/>
              <a:t>RADIOGRAPHIES : ÉCHOGRAPHIE, TOMODENSITOMÉTRIE, IRM, RAYONS X</a:t>
            </a:r>
          </a:p>
          <a:p>
            <a:pPr indent="-285750">
              <a:lnSpc>
                <a:spcPct val="200000"/>
              </a:lnSpc>
              <a:buFont typeface="Wingdings" charset="2"/>
              <a:buChar char="u"/>
            </a:pPr>
            <a:r>
              <a:rPr lang="fr-FR" dirty="0"/>
              <a:t>CHIMOTHERAPIE </a:t>
            </a:r>
          </a:p>
          <a:p>
            <a:pPr indent="-285750">
              <a:lnSpc>
                <a:spcPct val="200000"/>
              </a:lnSpc>
              <a:buFont typeface="Wingdings" charset="2"/>
              <a:buChar char="u"/>
            </a:pPr>
            <a:r>
              <a:rPr lang="fr-FR" dirty="0"/>
              <a:t>CHIRURGIE</a:t>
            </a:r>
          </a:p>
          <a:p>
            <a:pPr indent="-285750">
              <a:lnSpc>
                <a:spcPct val="200000"/>
              </a:lnSpc>
              <a:buFont typeface="Wingdings" charset="2"/>
              <a:buChar char="u"/>
            </a:pPr>
            <a:r>
              <a:rPr lang="fr-FR" dirty="0"/>
              <a:t>RADIOTHERAPIE</a:t>
            </a:r>
          </a:p>
        </p:txBody>
      </p:sp>
    </p:spTree>
    <p:extLst>
      <p:ext uri="{BB962C8B-B14F-4D97-AF65-F5344CB8AC3E}">
        <p14:creationId xmlns:p14="http://schemas.microsoft.com/office/powerpoint/2010/main" val="41827523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3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ZoneTexte 3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ZoneTexte 7"/>
          <p:cNvSpPr txBox="1"/>
          <p:nvPr/>
        </p:nvSpPr>
        <p:spPr>
          <a:xfrm>
            <a:off x="6168247" y="1693479"/>
            <a:ext cx="2394758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Soutien psychosocial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34959" y="2369902"/>
            <a:ext cx="10435117" cy="44670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fr-CH" sz="2400" dirty="0" err="1"/>
              <a:t>Since</a:t>
            </a:r>
            <a:r>
              <a:rPr lang="fr-CH" sz="2400" dirty="0"/>
              <a:t> 2016 Discussion forum </a:t>
            </a:r>
            <a:r>
              <a:rPr lang="fr-CH" sz="2400" dirty="0" err="1"/>
              <a:t>with</a:t>
            </a:r>
            <a:r>
              <a:rPr lang="fr-CH" sz="2400" dirty="0"/>
              <a:t> patients, </a:t>
            </a:r>
            <a:r>
              <a:rPr lang="fr-CH" sz="2400" dirty="0" err="1"/>
              <a:t>their</a:t>
            </a:r>
            <a:r>
              <a:rPr lang="fr-CH" sz="2400" dirty="0"/>
              <a:t> </a:t>
            </a:r>
            <a:r>
              <a:rPr lang="fr-CH" sz="2400" dirty="0" err="1"/>
              <a:t>families</a:t>
            </a:r>
            <a:r>
              <a:rPr lang="fr-CH" sz="2400" dirty="0"/>
              <a:t> and </a:t>
            </a:r>
            <a:r>
              <a:rPr lang="fr-CH" sz="2400" dirty="0" err="1"/>
              <a:t>survivors</a:t>
            </a:r>
            <a:r>
              <a:rPr lang="fr-CH" sz="2400" dirty="0"/>
              <a:t> 
Team: - </a:t>
            </a:r>
            <a:r>
              <a:rPr lang="fr-CH" sz="2400" dirty="0" err="1"/>
              <a:t>Psychologist</a:t>
            </a:r>
            <a:r>
              <a:rPr lang="fr-CH" sz="2400" dirty="0"/>
              <a:t>
                 - Social </a:t>
            </a:r>
            <a:r>
              <a:rPr lang="fr-CH" sz="2400" dirty="0" err="1"/>
              <a:t>workers</a:t>
            </a:r>
            <a:r>
              <a:rPr lang="fr-CH" sz="2400" dirty="0"/>
              <a:t>
                 -Imam
                 -</a:t>
            </a:r>
            <a:r>
              <a:rPr lang="fr-CH" sz="2400" dirty="0" err="1"/>
              <a:t>Oncologist</a:t>
            </a:r>
            <a:r>
              <a:rPr lang="fr-CH" sz="2400" dirty="0"/>
              <a:t> 
                 - </a:t>
            </a:r>
            <a:r>
              <a:rPr lang="fr-CH" sz="2400" dirty="0" err="1"/>
              <a:t>Members</a:t>
            </a:r>
            <a:r>
              <a:rPr lang="fr-CH" sz="2400" dirty="0"/>
              <a:t> of the Social </a:t>
            </a:r>
            <a:r>
              <a:rPr lang="fr-CH" sz="2400" dirty="0" err="1"/>
              <a:t>Committee</a:t>
            </a:r>
            <a:r>
              <a:rPr lang="fr-CH" sz="2400" dirty="0"/>
              <a:t>
                 -</a:t>
            </a:r>
            <a:r>
              <a:rPr lang="fr-CH" sz="2400" dirty="0" err="1"/>
              <a:t>Nutritionist</a:t>
            </a:r>
            <a:r>
              <a:rPr lang="fr-CH" sz="2400" dirty="0"/>
              <a:t>	
One session per </a:t>
            </a:r>
            <a:r>
              <a:rPr lang="fr-CH" sz="2400" dirty="0" err="1"/>
              <a:t>month</a:t>
            </a:r>
            <a:r>
              <a:rPr lang="fr-CH" sz="2400" dirty="0"/>
              <a:t> (last Tuesday): 25 people per session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9728642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2394758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Soutien psychosocial</a:t>
            </a:r>
          </a:p>
        </p:txBody>
      </p:sp>
      <p:pic>
        <p:nvPicPr>
          <p:cNvPr id="15" name="Image 14" descr="F:\photos prise en charge psychologique du31 aout 2016\100ND200\DSC_0224.JPG"/>
          <p:cNvPicPr/>
          <p:nvPr/>
        </p:nvPicPr>
        <p:blipFill>
          <a:blip r:embed="rId5" cstate="print"/>
          <a:stretch>
            <a:fillRect/>
          </a:stretch>
        </p:blipFill>
        <p:spPr bwMode="auto">
          <a:xfrm>
            <a:off x="488373" y="2519500"/>
            <a:ext cx="5523808" cy="338346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2" descr="C:\Users\Toshiba\Desktop\save\Pictures\vlcsnap-2016-09-29-01h23m54s798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58682" y="2540014"/>
            <a:ext cx="5617088" cy="33629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368554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-247932" y="1074367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183944" y="166194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831363" y="1261839"/>
            <a:ext cx="4570225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Formation /autonomisation Economiqu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EA69675-838F-27C6-0520-BEF6119923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79" y="1782253"/>
            <a:ext cx="6012316" cy="4509237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A576550D-2899-1603-F93D-C1BEFD3D08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8022" y="1782252"/>
            <a:ext cx="6020615" cy="4506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2865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12" name="ZoneTexte 11"/>
          <p:cNvSpPr txBox="1"/>
          <p:nvPr/>
        </p:nvSpPr>
        <p:spPr>
          <a:xfrm>
            <a:off x="2387668" y="2538029"/>
            <a:ext cx="7485681" cy="707886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4000" b="1" dirty="0">
                <a:solidFill>
                  <a:schemeClr val="bg1"/>
                </a:solidFill>
              </a:rPr>
              <a:t>Infrastructures and </a:t>
            </a:r>
            <a:r>
              <a:rPr lang="fr-FR" sz="4000" b="1" dirty="0" err="1">
                <a:solidFill>
                  <a:schemeClr val="bg1"/>
                </a:solidFill>
              </a:rPr>
              <a:t>equipments</a:t>
            </a:r>
            <a:endParaRPr lang="fr-FR" sz="4000" b="1" dirty="0">
              <a:solidFill>
                <a:schemeClr val="bg1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3814355" y="4127862"/>
            <a:ext cx="4429418" cy="1323439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fr-FR" sz="2000" dirty="0"/>
              <a:t> Institut Joliot-Curie</a:t>
            </a:r>
          </a:p>
          <a:p>
            <a:pPr>
              <a:buFont typeface="Arial" pitchFamily="34" charset="0"/>
              <a:buChar char="•"/>
            </a:pPr>
            <a:r>
              <a:rPr lang="fr-FR" sz="2000" dirty="0"/>
              <a:t> Hôpital Roi Baudoin</a:t>
            </a:r>
          </a:p>
          <a:p>
            <a:pPr>
              <a:buFont typeface="Arial" pitchFamily="34" charset="0"/>
              <a:buChar char="•"/>
            </a:pPr>
            <a:r>
              <a:rPr lang="fr-FR" sz="2000" dirty="0"/>
              <a:t>Hôpitaux régionaux et Districts de santé</a:t>
            </a:r>
          </a:p>
          <a:p>
            <a:pPr>
              <a:buFont typeface="Arial" pitchFamily="34" charset="0"/>
              <a:buChar char="•"/>
            </a:pPr>
            <a:r>
              <a:rPr lang="fr-FR" sz="2000" dirty="0"/>
              <a:t> LISCA</a:t>
            </a:r>
            <a:endParaRPr lang="wo-SN" sz="2000" dirty="0"/>
          </a:p>
        </p:txBody>
      </p:sp>
    </p:spTree>
    <p:extLst>
      <p:ext uri="{BB962C8B-B14F-4D97-AF65-F5344CB8AC3E}">
        <p14:creationId xmlns:p14="http://schemas.microsoft.com/office/powerpoint/2010/main" val="11825769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3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ZoneTexte 3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ZoneTexte 7"/>
          <p:cNvSpPr txBox="1"/>
          <p:nvPr/>
        </p:nvSpPr>
        <p:spPr>
          <a:xfrm>
            <a:off x="6168247" y="1693479"/>
            <a:ext cx="3575851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frastructures et équipements</a:t>
            </a: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1869381" y="2481881"/>
            <a:ext cx="9319181" cy="2862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dirty="0"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>
                <a:latin typeface="Calibri" pitchFamily="34" charset="0"/>
                <a:ea typeface="Calibri" pitchFamily="34" charset="0"/>
                <a:cs typeface="Calibri" pitchFamily="34" charset="0"/>
              </a:rPr>
              <a:t>Réhabilitation de la salle de chimiothérapie de l’Institut Joliot-Curie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dirty="0"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dirty="0">
                <a:latin typeface="Calibri" pitchFamily="34" charset="0"/>
                <a:ea typeface="Calibri" pitchFamily="34" charset="0"/>
                <a:cs typeface="Calibri" pitchFamily="34" charset="0"/>
              </a:rPr>
              <a:t>C</a:t>
            </a:r>
            <a:r>
              <a:rPr kumimoji="0" lang="fr-FR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Calibri" pitchFamily="34" charset="0"/>
              </a:rPr>
              <a:t>onstruction et l’équipement d’une seconde (2</a:t>
            </a:r>
            <a:r>
              <a:rPr kumimoji="0" lang="fr-FR" i="0" u="none" strike="noStrike" cap="none" normalizeH="0" baseline="3000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Calibri" pitchFamily="34" charset="0"/>
              </a:rPr>
              <a:t>eme</a:t>
            </a:r>
            <a:r>
              <a:rPr kumimoji="0" lang="fr-FR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Calibri" pitchFamily="34" charset="0"/>
              </a:rPr>
              <a:t>) salle de chimiothérapi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0" lang="fr-FR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>
                <a:latin typeface="Calibri" pitchFamily="34" charset="0"/>
                <a:ea typeface="Calibri" pitchFamily="34" charset="0"/>
                <a:cs typeface="Calibri" pitchFamily="34" charset="0"/>
              </a:rPr>
              <a:t>A</a:t>
            </a:r>
            <a:r>
              <a:rPr kumimoji="0" lang="fr-FR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Calibri" pitchFamily="34" charset="0"/>
              </a:rPr>
              <a:t>ménagement d’un espace pour les accompagnants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dirty="0"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Calibri" pitchFamily="34" charset="0"/>
              </a:rPr>
              <a:t>Réhabilitation de l’hospitalisation de L’institut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0" name="Flèche droite 17"/>
          <p:cNvSpPr/>
          <p:nvPr/>
        </p:nvSpPr>
        <p:spPr>
          <a:xfrm>
            <a:off x="1162743" y="2885260"/>
            <a:ext cx="563187" cy="288121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1" name="Flèche droite 18"/>
          <p:cNvSpPr/>
          <p:nvPr/>
        </p:nvSpPr>
        <p:spPr>
          <a:xfrm>
            <a:off x="1189413" y="3414850"/>
            <a:ext cx="563187" cy="288121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2" name="Flèche droite 19"/>
          <p:cNvSpPr/>
          <p:nvPr/>
        </p:nvSpPr>
        <p:spPr>
          <a:xfrm>
            <a:off x="1161843" y="4495250"/>
            <a:ext cx="563187" cy="288121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3" name="Flèche droite 19"/>
          <p:cNvSpPr/>
          <p:nvPr/>
        </p:nvSpPr>
        <p:spPr>
          <a:xfrm>
            <a:off x="1171542" y="3905666"/>
            <a:ext cx="563187" cy="288121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130008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233942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stitut Joliot - Curie</a:t>
            </a:r>
          </a:p>
        </p:txBody>
      </p:sp>
      <p:pic>
        <p:nvPicPr>
          <p:cNvPr id="15" name="Picture 2" descr="C:\Users\XXX\Desktop\u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6666" y="2720296"/>
            <a:ext cx="3820566" cy="286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ZoneTexte 1"/>
          <p:cNvSpPr txBox="1"/>
          <p:nvPr/>
        </p:nvSpPr>
        <p:spPr>
          <a:xfrm>
            <a:off x="1759352" y="6261712"/>
            <a:ext cx="1061444" cy="461665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AVANT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924326" y="2374479"/>
            <a:ext cx="2975767" cy="3751761"/>
          </a:xfrm>
          <a:prstGeom prst="rect">
            <a:avLst/>
          </a:prstGeom>
        </p:spPr>
      </p:pic>
      <p:pic>
        <p:nvPicPr>
          <p:cNvPr id="11" name="Picture 2" descr="C:\Users\Toshiba\Desktop\photos chimio\attente accompagnant.JPG">
            <a:extLst>
              <a:ext uri="{FF2B5EF4-FFF2-40B4-BE49-F238E27FC236}">
                <a16:creationId xmlns:a16="http://schemas.microsoft.com/office/drawing/2014/main" id="{040F8902-9536-84F7-A764-13DC0CE58C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62214" y="3856457"/>
            <a:ext cx="3570434" cy="2938201"/>
          </a:xfrm>
          <a:prstGeom prst="rect">
            <a:avLst/>
          </a:prstGeom>
          <a:noFill/>
        </p:spPr>
      </p:pic>
      <p:pic>
        <p:nvPicPr>
          <p:cNvPr id="9" name="Picture 3" descr="G:\Photo0171.jpg">
            <a:extLst>
              <a:ext uri="{FF2B5EF4-FFF2-40B4-BE49-F238E27FC236}">
                <a16:creationId xmlns:a16="http://schemas.microsoft.com/office/drawing/2014/main" id="{85B2AE02-64D4-DA7A-483C-39C030296D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626181" y="1474839"/>
            <a:ext cx="3688721" cy="2766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684659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-113096" y="1100427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144202" y="1699247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 descr="C:\Users\Professeur DIOP\Desktop\Photos Institut\photo 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374" y="2510163"/>
            <a:ext cx="3101106" cy="4151894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4" name="ZoneTexte 13"/>
          <p:cNvSpPr txBox="1"/>
          <p:nvPr/>
        </p:nvSpPr>
        <p:spPr>
          <a:xfrm>
            <a:off x="925189" y="1935462"/>
            <a:ext cx="1209947" cy="523220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fr-FR" sz="2800" b="1" dirty="0">
                <a:solidFill>
                  <a:schemeClr val="bg1"/>
                </a:solidFill>
              </a:rPr>
              <a:t>AVANT</a:t>
            </a:r>
          </a:p>
        </p:txBody>
      </p:sp>
      <p:sp>
        <p:nvSpPr>
          <p:cNvPr id="2050" name="AutoShape 2" descr="https://attachment.outlook.office.net/owa/drmdiop@hotmail.com/service.svc/s/GetFileAttachment?id=AQMkADAwATYwMAItODI3My1iY2Q2LTAwAi0wMAoARgAAA3sKKoiUbnZIh0JrI7C90zIHAC5ZMhrHe29Bisob%2Fan1QDQAAAIBDAAAAC5ZMhrHe29Bisob%2Fan1QDQAARMpMjcAAAABEgAQAC0Jjqvr7DhElFMFNz21K8s%3D&amp;X-OWA-CANARY=GZ6VjQnmnkauC4ijVTcLoaAta85vBtUYZuYW_ipQDmsT6Fm9tPB-pJdRCedPmSQe4RI61XFdhr4.&amp;token=eyJ0eXAiOiJKV1QiLCJhbGciOiJSUzI1NiIsIng1dCI6ImVuaDlCSnJWUFU1aWpWMXFqWmpWLWZMMmJjbyJ9.eyJ2ZXIiOiJFeGNoYW5nZS5DYWxsYmFjay5WMSIsImFwcGN0eHNlbmRlciI6Ik93YURvd25sb2FkQDg0ZGY5ZTdmLWU5ZjYtNDBhZi1iNDM1LWFhYWFhYWFhYWFhYSIsImFwcGN0eCI6IntcIm1zZXhjaHByb3RcIjpcIm93YVwiLFwicHJpbWFyeXNpZFwiOlwiUy0xLTI4MjctMzkzMjE2LTIxODg2MjMwNjJcIixcInB1aWRcIjpcIjE2ODg4NTIwNDg4ODY5OThcIixcIm9pZFwiOlwiMDAwNjAwMDAtODI3My1iY2Q2LTAwMDAtMDAwMDAwMDAwMDAwXCIsXCJzY29wZVwiOlwiT3dhRG93bmxvYWRcIn0iLCJpc3MiOiIwMDAwMDAwMi0wMDAwLTBmZjEtY2UwMC0wMDAwMDAwMDAwMDBAODRkZjllN2YtZTlmNi00MGFmLWI0MzUtYWFhYWFhYWFhYWFhIiwiYXVkIjoiMDAwMDAwMDItMDAwMC0wZmYxLWNlMDAtMDAwMDAwMDAwMDAwL2F0dGFjaG1lbnQub3V0bG9vay5vZmZpY2UubmV0QDg0ZGY5ZTdmLWU5ZjYtNDBhZi1iNDM1LWFhYWFhYWFhYWFhYSIsImV4cCI6MTUwNjYwMzcwMywibmJmIjoxNTA2NjAzMTAzfQ.zTPsuNLjF7jG83fsl7KCn-BcVEsKD_I6mXzGk-w8cG-ueebHr2pkg4vijdKjFQT98z_y1NfFjxiTXzhOGFCtfoopj-2nyIMF__twvlxbc-9sCwxh74w0d9NwWb5Etpm0xHeTpzPlLsuWbY5K_UjPJ1UEZacHVpWyXZfMBhx853-7XdFrO4lNnRMD9XkzR2omQoZOiP5TUw70jIx2qmme7K4zBZHfCTrGBl8YFCouyNuTcrZm26dcN-FjRDP4F5hjbJ59fjE_gcksXEsws2n-rRNNEeyDUOzo5-Q8jnIkB0I5RXC05lul17gndgop_I5uhWWQM0vhGVB_jAsAnyd64A&amp;owa=outlook.live.com&amp;isc=1&amp;isImagePreview=Tru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2052" name="AutoShape 4" descr="https://attachment.outlook.office.net/owa/drmdiop@hotmail.com/service.svc/s/GetFileAttachment?id=AQMkADAwATYwMAItODI3My1iY2Q2LTAwAi0wMAoARgAAA3sKKoiUbnZIh0JrI7C90zIHAC5ZMhrHe29Bisob%2Fan1QDQAAAIBDAAAAC5ZMhrHe29Bisob%2Fan1QDQAARMpMjcAAAABEgAQAC0Jjqvr7DhElFMFNz21K8s%3D&amp;X-OWA-CANARY=GZ6VjQnmnkauC4ijVTcLoaAta85vBtUYZuYW_ipQDmsT6Fm9tPB-pJdRCedPmSQe4RI61XFdhr4.&amp;token=eyJ0eXAiOiJKV1QiLCJhbGciOiJSUzI1NiIsIng1dCI6ImVuaDlCSnJWUFU1aWpWMXFqWmpWLWZMMmJjbyJ9.eyJ2ZXIiOiJFeGNoYW5nZS5DYWxsYmFjay5WMSIsImFwcGN0eHNlbmRlciI6Ik93YURvd25sb2FkQDg0ZGY5ZTdmLWU5ZjYtNDBhZi1iNDM1LWFhYWFhYWFhYWFhYSIsImFwcGN0eCI6IntcIm1zZXhjaHByb3RcIjpcIm93YVwiLFwicHJpbWFyeXNpZFwiOlwiUy0xLTI4MjctMzkzMjE2LTIxODg2MjMwNjJcIixcInB1aWRcIjpcIjE2ODg4NTIwNDg4ODY5OThcIixcIm9pZFwiOlwiMDAwNjAwMDAtODI3My1iY2Q2LTAwMDAtMDAwMDAwMDAwMDAwXCIsXCJzY29wZVwiOlwiT3dhRG93bmxvYWRcIn0iLCJpc3MiOiIwMDAwMDAwMi0wMDAwLTBmZjEtY2UwMC0wMDAwMDAwMDAwMDBAODRkZjllN2YtZTlmNi00MGFmLWI0MzUtYWFhYWFhYWFhYWFhIiwiYXVkIjoiMDAwMDAwMDItMDAwMC0wZmYxLWNlMDAtMDAwMDAwMDAwMDAwL2F0dGFjaG1lbnQub3V0bG9vay5vZmZpY2UubmV0QDg0ZGY5ZTdmLWU5ZjYtNDBhZi1iNDM1LWFhYWFhYWFhYWFhYSIsImV4cCI6MTUwNjYwMzcwMywibmJmIjoxNTA2NjAzMTAzfQ.zTPsuNLjF7jG83fsl7KCn-BcVEsKD_I6mXzGk-w8cG-ueebHr2pkg4vijdKjFQT98z_y1NfFjxiTXzhOGFCtfoopj-2nyIMF__twvlxbc-9sCwxh74w0d9NwWb5Etpm0xHeTpzPlLsuWbY5K_UjPJ1UEZacHVpWyXZfMBhx853-7XdFrO4lNnRMD9XkzR2omQoZOiP5TUw70jIx2qmme7K4zBZHfCTrGBl8YFCouyNuTcrZm26dcN-FjRDP4F5hjbJ59fjE_gcksXEsws2n-rRNNEeyDUOzo5-Q8jnIkB0I5RXC05lul17gndgop_I5uhWWQM0vhGVB_jAsAnyd64A&amp;owa=outlook.live.com&amp;isc=1&amp;isImagePreview=Tru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532" y="2339616"/>
            <a:ext cx="3469537" cy="395100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1961" y="1810894"/>
            <a:ext cx="3957258" cy="453949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7" name="ZoneTexte 16"/>
          <p:cNvSpPr txBox="1"/>
          <p:nvPr/>
        </p:nvSpPr>
        <p:spPr>
          <a:xfrm>
            <a:off x="6309454" y="1282203"/>
            <a:ext cx="233942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stitut Joliot - Curie</a:t>
            </a:r>
          </a:p>
        </p:txBody>
      </p:sp>
    </p:spTree>
    <p:extLst>
      <p:ext uri="{BB962C8B-B14F-4D97-AF65-F5344CB8AC3E}">
        <p14:creationId xmlns:p14="http://schemas.microsoft.com/office/powerpoint/2010/main" val="2585359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ZoneTexte 10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879567" y="4406540"/>
            <a:ext cx="4601068" cy="14773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fr-FR" b="1"/>
              <a:t> Associations de lutte contre le cancer</a:t>
            </a:r>
          </a:p>
          <a:p>
            <a:pPr>
              <a:buFont typeface="Courier New" pitchFamily="49" charset="0"/>
              <a:buChar char="o"/>
            </a:pPr>
            <a:r>
              <a:rPr lang="fr-FR" b="1"/>
              <a:t> Associations généralistes </a:t>
            </a:r>
          </a:p>
          <a:p>
            <a:r>
              <a:rPr lang="fr-FR" b="1"/>
              <a:t>        (impliquées dans la lutte contre le cancer)</a:t>
            </a:r>
          </a:p>
          <a:p>
            <a:pPr>
              <a:buFont typeface="Courier New" pitchFamily="49" charset="0"/>
              <a:buChar char="o"/>
            </a:pPr>
            <a:r>
              <a:rPr lang="fr-FR" b="1"/>
              <a:t> Bonnes volontés</a:t>
            </a:r>
          </a:p>
          <a:p>
            <a:pPr>
              <a:buFont typeface="Courier New" pitchFamily="49" charset="0"/>
              <a:buChar char="o"/>
            </a:pPr>
            <a:r>
              <a:rPr lang="fr-FR" b="1"/>
              <a:t> Professionnels de la santé</a:t>
            </a:r>
            <a:endParaRPr lang="wo-SN" b="1" dirty="0"/>
          </a:p>
        </p:txBody>
      </p:sp>
      <p:sp>
        <p:nvSpPr>
          <p:cNvPr id="13" name="ZoneTexte 12"/>
          <p:cNvSpPr txBox="1"/>
          <p:nvPr/>
        </p:nvSpPr>
        <p:spPr>
          <a:xfrm>
            <a:off x="3962485" y="1349829"/>
            <a:ext cx="4078104" cy="369332"/>
          </a:xfrm>
          <a:prstGeom prst="rect">
            <a:avLst/>
          </a:prstGeom>
          <a:noFill/>
          <a:ln w="38100">
            <a:solidFill>
              <a:schemeClr val="accent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fr-FR" b="1" dirty="0"/>
              <a:t>LIGUE SÉNÉGALAISE CONTRE LE CANCER 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7110550" y="4149633"/>
            <a:ext cx="3835730" cy="20313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fr-FR" b="1" dirty="0" err="1"/>
              <a:t>President</a:t>
            </a:r>
            <a:r>
              <a:rPr lang="fr-FR" b="1" dirty="0"/>
              <a:t>
 4 </a:t>
            </a:r>
            <a:r>
              <a:rPr lang="fr-FR" b="1" dirty="0" err="1"/>
              <a:t>Vice-Presidents</a:t>
            </a:r>
            <a:r>
              <a:rPr lang="fr-FR" b="1" dirty="0"/>
              <a:t>
 </a:t>
            </a:r>
            <a:r>
              <a:rPr lang="fr-FR" b="1" dirty="0" err="1"/>
              <a:t>Secretary</a:t>
            </a:r>
            <a:r>
              <a:rPr lang="fr-FR" b="1" dirty="0"/>
              <a:t> General + </a:t>
            </a:r>
            <a:r>
              <a:rPr lang="fr-FR" b="1" dirty="0" err="1"/>
              <a:t>Deputy</a:t>
            </a:r>
            <a:r>
              <a:rPr lang="fr-FR" b="1" dirty="0"/>
              <a:t>
 </a:t>
            </a:r>
            <a:r>
              <a:rPr lang="fr-FR" b="1" dirty="0" err="1"/>
              <a:t>Treasurer</a:t>
            </a:r>
            <a:r>
              <a:rPr lang="fr-FR" b="1" dirty="0"/>
              <a:t> + Assistant
 </a:t>
            </a:r>
            <a:r>
              <a:rPr lang="fr-FR" b="1" dirty="0" err="1"/>
              <a:t>Secretary</a:t>
            </a:r>
            <a:r>
              <a:rPr lang="fr-FR" b="1" dirty="0"/>
              <a:t> for Communications
 </a:t>
            </a:r>
            <a:r>
              <a:rPr lang="fr-FR" b="1" dirty="0" err="1"/>
              <a:t>Secretary</a:t>
            </a:r>
            <a:r>
              <a:rPr lang="fr-FR" b="1" dirty="0"/>
              <a:t> for </a:t>
            </a:r>
            <a:r>
              <a:rPr lang="fr-FR" b="1" dirty="0" err="1"/>
              <a:t>Decentralization</a:t>
            </a:r>
            <a:r>
              <a:rPr lang="fr-FR" b="1" dirty="0"/>
              <a:t>
 </a:t>
            </a:r>
            <a:r>
              <a:rPr lang="fr-FR" b="1" dirty="0" err="1"/>
              <a:t>Secretary</a:t>
            </a:r>
            <a:r>
              <a:rPr lang="fr-FR" b="1" dirty="0"/>
              <a:t> for International Relations</a:t>
            </a:r>
            <a:endParaRPr lang="wo-SN" b="1" dirty="0"/>
          </a:p>
        </p:txBody>
      </p:sp>
      <p:sp>
        <p:nvSpPr>
          <p:cNvPr id="15" name="Flèche droite 14"/>
          <p:cNvSpPr/>
          <p:nvPr/>
        </p:nvSpPr>
        <p:spPr>
          <a:xfrm>
            <a:off x="5886994" y="4676503"/>
            <a:ext cx="592183" cy="9231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wo-SN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9E7CE5E1-D2A4-3284-466C-07793690245D}"/>
              </a:ext>
            </a:extLst>
          </p:cNvPr>
          <p:cNvSpPr txBox="1"/>
          <p:nvPr/>
        </p:nvSpPr>
        <p:spPr>
          <a:xfrm>
            <a:off x="663677" y="2157819"/>
            <a:ext cx="10840065" cy="17113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120000"/>
              <a:buFont typeface="Arial" pitchFamily="34" charset="0"/>
              <a:buChar char="•"/>
            </a:pPr>
            <a:r>
              <a:rPr lang="fr-FR" sz="1800" dirty="0"/>
              <a:t>Création en </a:t>
            </a:r>
            <a:r>
              <a:rPr lang="fr-FR" sz="1800" b="1" dirty="0"/>
              <a:t>1985</a:t>
            </a:r>
          </a:p>
          <a:p>
            <a:pPr>
              <a:lnSpc>
                <a:spcPct val="150000"/>
              </a:lnSpc>
              <a:buSzPct val="120000"/>
              <a:buFont typeface="Arial" pitchFamily="34" charset="0"/>
              <a:buChar char="•"/>
            </a:pPr>
            <a:r>
              <a:rPr lang="fr-FR" sz="1800" dirty="0"/>
              <a:t>  Lutte contre le cancer au plan social, sanitaire, juridique, administratif et de la recherche</a:t>
            </a:r>
          </a:p>
          <a:p>
            <a:pPr>
              <a:lnSpc>
                <a:spcPct val="150000"/>
              </a:lnSpc>
              <a:buSzPct val="120000"/>
              <a:buFont typeface="Arial" pitchFamily="34" charset="0"/>
              <a:buChar char="•"/>
            </a:pPr>
            <a:r>
              <a:rPr lang="fr-FR" sz="1800" dirty="0"/>
              <a:t>  </a:t>
            </a:r>
            <a:r>
              <a:rPr lang="fr-FR" sz="1800" b="1" dirty="0" err="1"/>
              <a:t>Ffédérer</a:t>
            </a:r>
            <a:r>
              <a:rPr lang="fr-FR" sz="1800" b="1" dirty="0"/>
              <a:t> </a:t>
            </a:r>
            <a:r>
              <a:rPr lang="fr-FR" sz="1800" dirty="0"/>
              <a:t>l’action de l’ensemble des personnes physiques et morales</a:t>
            </a:r>
          </a:p>
          <a:p>
            <a:pPr>
              <a:lnSpc>
                <a:spcPct val="150000"/>
              </a:lnSpc>
              <a:buSzPct val="120000"/>
              <a:buFont typeface="Arial" pitchFamily="34" charset="0"/>
              <a:buChar char="•"/>
            </a:pPr>
            <a:r>
              <a:rPr lang="fr-FR" sz="1800" dirty="0"/>
              <a:t>  Composition du </a:t>
            </a:r>
            <a:r>
              <a:rPr lang="fr-FR" sz="1800" b="1" dirty="0"/>
              <a:t>Conseil d’Administration  </a:t>
            </a:r>
            <a:r>
              <a:rPr lang="fr-FR" sz="1800" dirty="0"/>
              <a:t>[24 membres]</a:t>
            </a:r>
          </a:p>
        </p:txBody>
      </p:sp>
    </p:spTree>
    <p:extLst>
      <p:ext uri="{BB962C8B-B14F-4D97-AF65-F5344CB8AC3E}">
        <p14:creationId xmlns:p14="http://schemas.microsoft.com/office/powerpoint/2010/main" val="9973256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233942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stitut Joliot - Curie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224539" y="2457859"/>
            <a:ext cx="6338979" cy="369332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fr-FR" dirty="0"/>
              <a:t>Réhabilitation et rénovation de l’ancienne salle de chimiothérapie</a:t>
            </a:r>
          </a:p>
        </p:txBody>
      </p:sp>
      <p:pic>
        <p:nvPicPr>
          <p:cNvPr id="16" name="Image 15" descr="salle rehabilité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60375" y="3446505"/>
            <a:ext cx="3977766" cy="2983323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050" name="AutoShape 2" descr="https://attachment.outlook.office.net/owa/drmdiop@hotmail.com/service.svc/s/GetFileAttachment?id=AQMkADAwATYwMAItODI3My1iY2Q2LTAwAi0wMAoARgAAA3sKKoiUbnZIh0JrI7C90zIHAC5ZMhrHe29Bisob%2Fan1QDQAAAIBDAAAAC5ZMhrHe29Bisob%2Fan1QDQAARMpMjcAAAABEgAQAC0Jjqvr7DhElFMFNz21K8s%3D&amp;X-OWA-CANARY=GZ6VjQnmnkauC4ijVTcLoaAta85vBtUYZuYW_ipQDmsT6Fm9tPB-pJdRCedPmSQe4RI61XFdhr4.&amp;token=eyJ0eXAiOiJKV1QiLCJhbGciOiJSUzI1NiIsIng1dCI6ImVuaDlCSnJWUFU1aWpWMXFqWmpWLWZMMmJjbyJ9.eyJ2ZXIiOiJFeGNoYW5nZS5DYWxsYmFjay5WMSIsImFwcGN0eHNlbmRlciI6Ik93YURvd25sb2FkQDg0ZGY5ZTdmLWU5ZjYtNDBhZi1iNDM1LWFhYWFhYWFhYWFhYSIsImFwcGN0eCI6IntcIm1zZXhjaHByb3RcIjpcIm93YVwiLFwicHJpbWFyeXNpZFwiOlwiUy0xLTI4MjctMzkzMjE2LTIxODg2MjMwNjJcIixcInB1aWRcIjpcIjE2ODg4NTIwNDg4ODY5OThcIixcIm9pZFwiOlwiMDAwNjAwMDAtODI3My1iY2Q2LTAwMDAtMDAwMDAwMDAwMDAwXCIsXCJzY29wZVwiOlwiT3dhRG93bmxvYWRcIn0iLCJpc3MiOiIwMDAwMDAwMi0wMDAwLTBmZjEtY2UwMC0wMDAwMDAwMDAwMDBAODRkZjllN2YtZTlmNi00MGFmLWI0MzUtYWFhYWFhYWFhYWFhIiwiYXVkIjoiMDAwMDAwMDItMDAwMC0wZmYxLWNlMDAtMDAwMDAwMDAwMDAwL2F0dGFjaG1lbnQub3V0bG9vay5vZmZpY2UubmV0QDg0ZGY5ZTdmLWU5ZjYtNDBhZi1iNDM1LWFhYWFhYWFhYWFhYSIsImV4cCI6MTUwNjYwMzcwMywibmJmIjoxNTA2NjAzMTAzfQ.zTPsuNLjF7jG83fsl7KCn-BcVEsKD_I6mXzGk-w8cG-ueebHr2pkg4vijdKjFQT98z_y1NfFjxiTXzhOGFCtfoopj-2nyIMF__twvlxbc-9sCwxh74w0d9NwWb5Etpm0xHeTpzPlLsuWbY5K_UjPJ1UEZacHVpWyXZfMBhx853-7XdFrO4lNnRMD9XkzR2omQoZOiP5TUw70jIx2qmme7K4zBZHfCTrGBl8YFCouyNuTcrZm26dcN-FjRDP4F5hjbJ59fjE_gcksXEsws2n-rRNNEeyDUOzo5-Q8jnIkB0I5RXC05lul17gndgop_I5uhWWQM0vhGVB_jAsAnyd64A&amp;owa=outlook.live.com&amp;isc=1&amp;isImagePreview=Tru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2052" name="AutoShape 4" descr="https://attachment.outlook.office.net/owa/drmdiop@hotmail.com/service.svc/s/GetFileAttachment?id=AQMkADAwATYwMAItODI3My1iY2Q2LTAwAi0wMAoARgAAA3sKKoiUbnZIh0JrI7C90zIHAC5ZMhrHe29Bisob%2Fan1QDQAAAIBDAAAAC5ZMhrHe29Bisob%2Fan1QDQAARMpMjcAAAABEgAQAC0Jjqvr7DhElFMFNz21K8s%3D&amp;X-OWA-CANARY=GZ6VjQnmnkauC4ijVTcLoaAta85vBtUYZuYW_ipQDmsT6Fm9tPB-pJdRCedPmSQe4RI61XFdhr4.&amp;token=eyJ0eXAiOiJKV1QiLCJhbGciOiJSUzI1NiIsIng1dCI6ImVuaDlCSnJWUFU1aWpWMXFqWmpWLWZMMmJjbyJ9.eyJ2ZXIiOiJFeGNoYW5nZS5DYWxsYmFjay5WMSIsImFwcGN0eHNlbmRlciI6Ik93YURvd25sb2FkQDg0ZGY5ZTdmLWU5ZjYtNDBhZi1iNDM1LWFhYWFhYWFhYWFhYSIsImFwcGN0eCI6IntcIm1zZXhjaHByb3RcIjpcIm93YVwiLFwicHJpbWFyeXNpZFwiOlwiUy0xLTI4MjctMzkzMjE2LTIxODg2MjMwNjJcIixcInB1aWRcIjpcIjE2ODg4NTIwNDg4ODY5OThcIixcIm9pZFwiOlwiMDAwNjAwMDAtODI3My1iY2Q2LTAwMDAtMDAwMDAwMDAwMDAwXCIsXCJzY29wZVwiOlwiT3dhRG93bmxvYWRcIn0iLCJpc3MiOiIwMDAwMDAwMi0wMDAwLTBmZjEtY2UwMC0wMDAwMDAwMDAwMDBAODRkZjllN2YtZTlmNi00MGFmLWI0MzUtYWFhYWFhYWFhYWFhIiwiYXVkIjoiMDAwMDAwMDItMDAwMC0wZmYxLWNlMDAtMDAwMDAwMDAwMDAwL2F0dGFjaG1lbnQub3V0bG9vay5vZmZpY2UubmV0QDg0ZGY5ZTdmLWU5ZjYtNDBhZi1iNDM1LWFhYWFhYWFhYWFhYSIsImV4cCI6MTUwNjYwMzcwMywibmJmIjoxNTA2NjAzMTAzfQ.zTPsuNLjF7jG83fsl7KCn-BcVEsKD_I6mXzGk-w8cG-ueebHr2pkg4vijdKjFQT98z_y1NfFjxiTXzhOGFCtfoopj-2nyIMF__twvlxbc-9sCwxh74w0d9NwWb5Etpm0xHeTpzPlLsuWbY5K_UjPJ1UEZacHVpWyXZfMBhx853-7XdFrO4lNnRMD9XkzR2omQoZOiP5TUw70jIx2qmme7K4zBZHfCTrGBl8YFCouyNuTcrZm26dcN-FjRDP4F5hjbJ59fjE_gcksXEsws2n-rRNNEeyDUOzo5-Q8jnIkB0I5RXC05lul17gndgop_I5uhWWQM0vhGVB_jAsAnyd64A&amp;owa=outlook.live.com&amp;isc=1&amp;isImagePreview=Tru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pic>
        <p:nvPicPr>
          <p:cNvPr id="20" name="Image 19" descr="sall rehab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741576" y="3446506"/>
            <a:ext cx="4278992" cy="3209243"/>
          </a:xfrm>
          <a:prstGeom prst="rect">
            <a:avLst/>
          </a:prstGeom>
          <a:ln w="5715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" name="Ellipse 2"/>
          <p:cNvSpPr/>
          <p:nvPr/>
        </p:nvSpPr>
        <p:spPr>
          <a:xfrm>
            <a:off x="4586514" y="4513942"/>
            <a:ext cx="3059611" cy="1117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tx1"/>
                </a:solidFill>
              </a:rPr>
              <a:t>10 000 000 Frs CFA</a:t>
            </a:r>
          </a:p>
        </p:txBody>
      </p:sp>
    </p:spTree>
    <p:extLst>
      <p:ext uri="{BB962C8B-B14F-4D97-AF65-F5344CB8AC3E}">
        <p14:creationId xmlns:p14="http://schemas.microsoft.com/office/powerpoint/2010/main" val="13549965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233942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stitut Joliot - Curie</a:t>
            </a:r>
          </a:p>
        </p:txBody>
      </p:sp>
      <p:pic>
        <p:nvPicPr>
          <p:cNvPr id="11" name="Picture 2" descr="G:\sup deco\thumb_IMG_0591_102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7473" y="2519500"/>
            <a:ext cx="5141819" cy="3451451"/>
          </a:xfrm>
          <a:prstGeom prst="rect">
            <a:avLst/>
          </a:prstGeom>
          <a:noFill/>
        </p:spPr>
      </p:pic>
      <p:pic>
        <p:nvPicPr>
          <p:cNvPr id="14" name="Picture 3" descr="G:\sup deco\thumb_IMG_0600_1024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68247" y="3002614"/>
            <a:ext cx="4499991" cy="3038811"/>
          </a:xfrm>
          <a:prstGeom prst="rect">
            <a:avLst/>
          </a:prstGeom>
          <a:noFill/>
        </p:spPr>
      </p:pic>
      <p:sp>
        <p:nvSpPr>
          <p:cNvPr id="16" name="ZoneTexte 15"/>
          <p:cNvSpPr txBox="1"/>
          <p:nvPr/>
        </p:nvSpPr>
        <p:spPr>
          <a:xfrm>
            <a:off x="6024624" y="2334590"/>
            <a:ext cx="49921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Construction de la nouvelle salle de chimiothérapie</a:t>
            </a:r>
          </a:p>
        </p:txBody>
      </p:sp>
    </p:spTree>
    <p:extLst>
      <p:ext uri="{BB962C8B-B14F-4D97-AF65-F5344CB8AC3E}">
        <p14:creationId xmlns:p14="http://schemas.microsoft.com/office/powerpoint/2010/main" val="21013091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233942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stitut Joliot - Curie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896631" y="5862026"/>
            <a:ext cx="4543231" cy="338554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fr-FR" sz="1600" b="1" dirty="0"/>
              <a:t>Inauguration de la nouvelle salle de chimiothérapie</a:t>
            </a:r>
          </a:p>
        </p:txBody>
      </p:sp>
      <p:grpSp>
        <p:nvGrpSpPr>
          <p:cNvPr id="19" name="Groupe 18"/>
          <p:cNvGrpSpPr/>
          <p:nvPr/>
        </p:nvGrpSpPr>
        <p:grpSpPr>
          <a:xfrm>
            <a:off x="8548914" y="2203837"/>
            <a:ext cx="3207657" cy="4329572"/>
            <a:chOff x="8548914" y="2203837"/>
            <a:chExt cx="2863171" cy="4329572"/>
          </a:xfrm>
        </p:grpSpPr>
        <p:pic>
          <p:nvPicPr>
            <p:cNvPr id="3" name="Image 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48914" y="4414918"/>
              <a:ext cx="2863171" cy="2118491"/>
            </a:xfrm>
            <a:prstGeom prst="rect">
              <a:avLst/>
            </a:prstGeom>
          </p:spPr>
        </p:pic>
        <p:pic>
          <p:nvPicPr>
            <p:cNvPr id="16" name="Image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48914" y="2203837"/>
              <a:ext cx="2863171" cy="2118492"/>
            </a:xfrm>
            <a:prstGeom prst="rect">
              <a:avLst/>
            </a:prstGeom>
          </p:spPr>
        </p:pic>
      </p:grpSp>
      <p:pic>
        <p:nvPicPr>
          <p:cNvPr id="17" name="Image 16" descr="F:\VIDEO ET PHOTOS OCTOBRE ROSE 2016\Photo Inauguration Salle Chimio\Lisca.Image fixe035.jpg"/>
          <p:cNvPicPr/>
          <p:nvPr/>
        </p:nvPicPr>
        <p:blipFill>
          <a:blip r:embed="rId6" cstate="print"/>
          <a:stretch>
            <a:fillRect/>
          </a:stretch>
        </p:blipFill>
        <p:spPr bwMode="auto">
          <a:xfrm>
            <a:off x="3896631" y="2689089"/>
            <a:ext cx="4314832" cy="2720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" name="Groupe 19"/>
          <p:cNvGrpSpPr/>
          <p:nvPr/>
        </p:nvGrpSpPr>
        <p:grpSpPr>
          <a:xfrm>
            <a:off x="198229" y="2155515"/>
            <a:ext cx="3457908" cy="4333628"/>
            <a:chOff x="-134137" y="2234315"/>
            <a:chExt cx="3705710" cy="4333628"/>
          </a:xfrm>
        </p:grpSpPr>
        <p:pic>
          <p:nvPicPr>
            <p:cNvPr id="13" name="Image 1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34137" y="4380382"/>
              <a:ext cx="3705710" cy="2187561"/>
            </a:xfrm>
            <a:prstGeom prst="rect">
              <a:avLst/>
            </a:prstGeom>
          </p:spPr>
        </p:pic>
        <p:pic>
          <p:nvPicPr>
            <p:cNvPr id="18" name="Image 17" descr="F:\VIDEO ET PHOTOS OCTOBRE ROSE 2016\Photo Inauguration Salle Chimio\Lisca.Image fixe044.jpg"/>
            <p:cNvPicPr/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-134137" y="2234315"/>
              <a:ext cx="3705710" cy="20880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7305068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233942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stitut Joliot - Curie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1815984" y="2427876"/>
            <a:ext cx="1136530" cy="523220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fr-FR" sz="2800" b="1" dirty="0">
                <a:solidFill>
                  <a:schemeClr val="bg1"/>
                </a:solidFill>
              </a:rPr>
              <a:t>APRES</a:t>
            </a:r>
          </a:p>
        </p:txBody>
      </p:sp>
      <p:pic>
        <p:nvPicPr>
          <p:cNvPr id="17" name="Image 16" descr="F:\VIDEO ET PHOTOS OCTOBRE ROSE 2016\PHOTOS CONSTRUCTION NOUVELLE SALLE CHIMIO\IMG_0709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77480" y="2205975"/>
            <a:ext cx="3801519" cy="2548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Image 17" descr="F:\VIDEO ET PHOTOS OCTOBRE ROSE 2016\PHOTOS CONSTRUCTION NOUVELLE SALLE CHIMIO\IMG_0705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4202" y="3115000"/>
            <a:ext cx="4644008" cy="3140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021675" y="4830324"/>
            <a:ext cx="7157324" cy="1853345"/>
          </a:xfrm>
          <a:prstGeom prst="rect">
            <a:avLst/>
          </a:prstGeom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1675" y="2195372"/>
            <a:ext cx="3294083" cy="2559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6104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233942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stitut Joliot - Curie</a:t>
            </a:r>
          </a:p>
        </p:txBody>
      </p:sp>
      <p:pic>
        <p:nvPicPr>
          <p:cNvPr id="11" name="Image 10" descr="F:\VIDEO ET PHOTOS OCTOBRE ROSE 2016\PHOTOS CONSTRUCTION NOUVELLE SALLE CHIMIO\IMG_0696.JPG"/>
          <p:cNvPicPr/>
          <p:nvPr/>
        </p:nvPicPr>
        <p:blipFill>
          <a:blip r:embed="rId4" cstate="print"/>
          <a:stretch>
            <a:fillRect/>
          </a:stretch>
        </p:blipFill>
        <p:spPr bwMode="auto">
          <a:xfrm>
            <a:off x="19769" y="2319382"/>
            <a:ext cx="7157252" cy="1901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ZoneTexte 15"/>
          <p:cNvSpPr txBox="1"/>
          <p:nvPr/>
        </p:nvSpPr>
        <p:spPr>
          <a:xfrm>
            <a:off x="9171913" y="2319382"/>
            <a:ext cx="1000787" cy="461665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APRES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71" y="4446346"/>
            <a:ext cx="3063004" cy="2297253"/>
          </a:xfrm>
          <a:prstGeom prst="rect">
            <a:avLst/>
          </a:prstGeom>
        </p:spPr>
      </p:pic>
      <p:pic>
        <p:nvPicPr>
          <p:cNvPr id="18" name="Picture 2" descr="C:\Users\PROFES~1\AppData\Local\Temp\IMG_4278-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62882" y="3006840"/>
            <a:ext cx="4357686" cy="3268265"/>
          </a:xfrm>
          <a:prstGeom prst="rect">
            <a:avLst/>
          </a:prstGeom>
          <a:noFill/>
        </p:spPr>
      </p:pic>
      <p:sp>
        <p:nvSpPr>
          <p:cNvPr id="2" name="Ellipse 1"/>
          <p:cNvSpPr/>
          <p:nvPr/>
        </p:nvSpPr>
        <p:spPr>
          <a:xfrm>
            <a:off x="3889847" y="5014401"/>
            <a:ext cx="3130872" cy="11611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60 000 000 Frs CFA </a:t>
            </a:r>
          </a:p>
        </p:txBody>
      </p:sp>
    </p:spTree>
    <p:extLst>
      <p:ext uri="{BB962C8B-B14F-4D97-AF65-F5344CB8AC3E}">
        <p14:creationId xmlns:p14="http://schemas.microsoft.com/office/powerpoint/2010/main" val="23558846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233942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stitut Joliot - Curie</a:t>
            </a:r>
          </a:p>
        </p:txBody>
      </p:sp>
      <p:pic>
        <p:nvPicPr>
          <p:cNvPr id="15" name="Picture 4" descr="C:\Users\PROFES~1\AppData\Local\Temp\IMG_4275.JPG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602673" y="2557254"/>
            <a:ext cx="5185539" cy="3889154"/>
          </a:xfrm>
          <a:prstGeom prst="rect">
            <a:avLst/>
          </a:prstGeom>
          <a:noFill/>
        </p:spPr>
      </p:pic>
      <p:pic>
        <p:nvPicPr>
          <p:cNvPr id="16" name="Picture 5" descr="C:\Users\PROFES~1\AppData\Local\Temp\IMG_4273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13263" y="2493698"/>
            <a:ext cx="5270278" cy="395270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690383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233942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stitut Joliot - Curie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5082006" y="2427479"/>
            <a:ext cx="1210075" cy="523220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fr-FR" sz="2800" b="1" dirty="0">
                <a:solidFill>
                  <a:schemeClr val="bg1"/>
                </a:solidFill>
              </a:rPr>
              <a:t>AVANT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9847" y="3521400"/>
            <a:ext cx="4194610" cy="3145958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271689" y="2872757"/>
            <a:ext cx="4426003" cy="3319713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906296" y="2853990"/>
            <a:ext cx="4493000" cy="3424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0421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233942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stitut Joliot - Curie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476" y="3950857"/>
            <a:ext cx="3613724" cy="2710293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2946" y="3924594"/>
            <a:ext cx="3648743" cy="2736556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325192" y="2794343"/>
            <a:ext cx="4298792" cy="3434822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44202" y="2362358"/>
            <a:ext cx="3324458" cy="923330"/>
          </a:xfrm>
          <a:prstGeom prst="rect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fr-FR" b="1" dirty="0"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fr-FR" b="1" dirty="0">
                <a:latin typeface="Calibri" pitchFamily="34" charset="0"/>
                <a:ea typeface="Calibri" pitchFamily="34" charset="0"/>
                <a:cs typeface="Calibri" pitchFamily="34" charset="0"/>
              </a:rPr>
              <a:t>RENOVATION HOSPITALISATION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fr-FR" b="1" dirty="0"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5370286" y="2540000"/>
            <a:ext cx="2772228" cy="580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727229" y="2388593"/>
            <a:ext cx="1780441" cy="1139253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6" name="Ellipse 15"/>
          <p:cNvSpPr/>
          <p:nvPr/>
        </p:nvSpPr>
        <p:spPr>
          <a:xfrm>
            <a:off x="3639258" y="2403472"/>
            <a:ext cx="2917372" cy="98827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25 000  000 frs CFA </a:t>
            </a:r>
          </a:p>
        </p:txBody>
      </p:sp>
    </p:spTree>
    <p:extLst>
      <p:ext uri="{BB962C8B-B14F-4D97-AF65-F5344CB8AC3E}">
        <p14:creationId xmlns:p14="http://schemas.microsoft.com/office/powerpoint/2010/main" val="3724208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028200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2" y="4056773"/>
            <a:ext cx="3679103" cy="2759327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4452" y="1168065"/>
            <a:ext cx="3672114" cy="2754086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2" y="1162823"/>
            <a:ext cx="3679103" cy="2759328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4452" y="4056773"/>
            <a:ext cx="3672114" cy="2754086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2512" y="1330114"/>
            <a:ext cx="3888056" cy="518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7516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84564"/>
            <a:ext cx="3821832" cy="2866374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191000"/>
            <a:ext cx="3821832" cy="266700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84" y="1243876"/>
            <a:ext cx="3742749" cy="2807062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7433" y="4218924"/>
            <a:ext cx="3759200" cy="2639075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0866" y="1273532"/>
            <a:ext cx="3851134" cy="274775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0866" y="4191000"/>
            <a:ext cx="3851134" cy="2639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2475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10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ZoneTexte 10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757483" y="1263877"/>
            <a:ext cx="1102811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fr-SN" sz="3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Verdana" pitchFamily="34" charset="0"/>
                <a:cs typeface="Verdana" pitchFamily="34" charset="0"/>
              </a:rPr>
              <a:t>MEMBER ASSOCIATIONS</a:t>
            </a:r>
          </a:p>
        </p:txBody>
      </p:sp>
      <p:sp>
        <p:nvSpPr>
          <p:cNvPr id="8" name="Rectangle 7"/>
          <p:cNvSpPr/>
          <p:nvPr/>
        </p:nvSpPr>
        <p:spPr>
          <a:xfrm>
            <a:off x="395628" y="2054620"/>
            <a:ext cx="5108528" cy="4401205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FR" sz="1400" b="1" u="sng" dirty="0">
                <a:ln w="0"/>
                <a:solidFill>
                  <a:schemeClr val="accent5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CANCER ACTION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FR" sz="1400" b="1" u="sng" dirty="0">
                <a:ln w="0"/>
                <a:solidFill>
                  <a:schemeClr val="accent5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HENRIETTE DE ROUEN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SENEGALAISE DES DROITS DES MALADES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SOLIDARITE ENTRE NOUS (SENOU)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DES PROFESSIONNELS DE LA SANTE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FR" sz="1400" b="1" u="sng" dirty="0">
                <a:ln w="0"/>
                <a:solidFill>
                  <a:schemeClr val="accent5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AND XEX CANCER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FR" sz="1400" b="1" u="sng" dirty="0">
                <a:ln w="0"/>
                <a:solidFill>
                  <a:schemeClr val="accent5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HOUSE OF PEACE AND SHARING   (HPS)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NATIONALE DES ALBINOS DU SENEAGAL (ANAS)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DES IMAMS ET OULEMAS DU SENEGAL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endParaRPr lang="fr-FR" sz="14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5846737" y="2020981"/>
            <a:ext cx="6345263" cy="44012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0" indent="-342900">
              <a:lnSpc>
                <a:spcPct val="200000"/>
              </a:lnSpc>
              <a:buFont typeface="+mj-lt"/>
              <a:buAutoNum type="arabicPeriod" startAt="10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DES FEMMES PROFESSIONNELLES DU SENEGAL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 startAt="10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S DES FEMMES JURISTES DU SENEGAL  (AJS)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 startAt="10"/>
            </a:pPr>
            <a:r>
              <a:rPr lang="fr-FR" sz="1400" b="1" u="sng" dirty="0">
                <a:ln w="0"/>
                <a:solidFill>
                  <a:schemeClr val="accent5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CANCER DU SEIN SENEGAL (AC2S)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 startAt="10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DES FEMMES MEDECINS DU SENEGAL  (AFEMS)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 startAt="10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DES SAGES FEMMES D’ETAT DU SENEGAL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 startAt="10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DES PHARMACIENNES DU SENEGAL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 startAt="10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ONDATION SOUTOURA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 startAt="10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NATIONALE DES INFIRMIERES ET  INFIRMIERS D’ETAT DU SENEGAL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 startAt="10"/>
            </a:pPr>
            <a:r>
              <a:rPr lang="fr-FR" sz="1400" b="1" u="sng" dirty="0">
                <a:ln w="0"/>
                <a:solidFill>
                  <a:schemeClr val="accent5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OCIATION DES GASTRECTOMISÉS ET LEUCEMIES</a:t>
            </a:r>
          </a:p>
          <a:p>
            <a:pPr>
              <a:lnSpc>
                <a:spcPct val="200000"/>
              </a:lnSpc>
            </a:pPr>
            <a:endParaRPr lang="wo-SN" sz="1400" dirty="0"/>
          </a:p>
        </p:txBody>
      </p:sp>
    </p:spTree>
    <p:extLst>
      <p:ext uri="{BB962C8B-B14F-4D97-AF65-F5344CB8AC3E}">
        <p14:creationId xmlns:p14="http://schemas.microsoft.com/office/powerpoint/2010/main" val="17051460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144202" y="122933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519545" y="1784831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096000" y="1370023"/>
            <a:ext cx="233942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stitut Joliot - Curie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2" y="2099737"/>
            <a:ext cx="2794660" cy="2095995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2338" y="2099737"/>
            <a:ext cx="2794660" cy="2095995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854" y="4536373"/>
            <a:ext cx="2857995" cy="2143496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2338" y="4536372"/>
            <a:ext cx="2857996" cy="2143497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74" y="4536372"/>
            <a:ext cx="2722586" cy="2262249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2558" y="4536372"/>
            <a:ext cx="3016331" cy="2262249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93380"/>
            <a:ext cx="2794660" cy="2095995"/>
          </a:xfrm>
          <a:prstGeom prst="rect">
            <a:avLst/>
          </a:prstGeom>
        </p:spPr>
      </p:pic>
      <p:pic>
        <p:nvPicPr>
          <p:cNvPr id="22" name="Image 2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3392" y="2063571"/>
            <a:ext cx="2834405" cy="2125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94318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144202" y="122933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519545" y="1784831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096000" y="1370023"/>
            <a:ext cx="233942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stitut Joliot - Curi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61A254A9-178A-30A9-4058-94E8B7226A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409" y="2135986"/>
            <a:ext cx="5421135" cy="4065851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C8BB34D4-1493-4318-5BDE-3AF7AEB557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929" y="2117164"/>
            <a:ext cx="5421135" cy="4065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3923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3338671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Infrastructure and </a:t>
            </a:r>
            <a:r>
              <a:rPr lang="fr-FR" sz="2000" b="1" dirty="0" err="1">
                <a:solidFill>
                  <a:schemeClr val="bg1"/>
                </a:solidFill>
              </a:rPr>
              <a:t>equipment</a:t>
            </a:r>
            <a:endParaRPr lang="fr-FR" sz="2000" b="1" dirty="0">
              <a:solidFill>
                <a:schemeClr val="bg1"/>
              </a:solidFill>
            </a:endParaRPr>
          </a:p>
        </p:txBody>
      </p:sp>
      <p:sp>
        <p:nvSpPr>
          <p:cNvPr id="14" name="Flèche droite 13"/>
          <p:cNvSpPr/>
          <p:nvPr/>
        </p:nvSpPr>
        <p:spPr>
          <a:xfrm>
            <a:off x="1149694" y="2606085"/>
            <a:ext cx="563187" cy="288121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ZoneTexte 2"/>
          <p:cNvSpPr txBox="1"/>
          <p:nvPr/>
        </p:nvSpPr>
        <p:spPr>
          <a:xfrm>
            <a:off x="1863090" y="2571040"/>
            <a:ext cx="457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2"/>
            <a:r>
              <a:rPr lang="fr-CH" b="1" dirty="0">
                <a:latin typeface="Calibri" panose="020F0502020204030204" pitchFamily="34" charset="0"/>
              </a:rPr>
              <a:t>1st </a:t>
            </a:r>
            <a:r>
              <a:rPr lang="fr-CH" b="1" dirty="0" err="1">
                <a:latin typeface="Calibri" panose="020F0502020204030204" pitchFamily="34" charset="0"/>
              </a:rPr>
              <a:t>generation</a:t>
            </a:r>
            <a:r>
              <a:rPr lang="fr-CH" b="1" dirty="0">
                <a:latin typeface="Calibri" panose="020F0502020204030204" pitchFamily="34" charset="0"/>
              </a:rPr>
              <a:t> digital </a:t>
            </a:r>
            <a:r>
              <a:rPr lang="fr-CH" b="1" dirty="0" err="1">
                <a:latin typeface="Calibri" panose="020F0502020204030204" pitchFamily="34" charset="0"/>
              </a:rPr>
              <a:t>mammography</a:t>
            </a:r>
            <a:r>
              <a:rPr lang="fr-CH" b="1" dirty="0">
                <a:latin typeface="Calibri" panose="020F0502020204030204" pitchFamily="34" charset="0"/>
              </a:rPr>
              <a:t> machine</a:t>
            </a:r>
            <a:endParaRPr lang="fr-FR" dirty="0"/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1223010" y="6202293"/>
            <a:ext cx="10040076" cy="369332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fr-FR" b="1" dirty="0" err="1">
                <a:ea typeface="Times New Roman" pitchFamily="18" charset="0"/>
                <a:cs typeface="Times New Roman" pitchFamily="18" charset="0"/>
              </a:rPr>
              <a:t>Signing</a:t>
            </a:r>
            <a:r>
              <a:rPr lang="fr-FR" b="1" dirty="0">
                <a:ea typeface="Times New Roman" pitchFamily="18" charset="0"/>
                <a:cs typeface="Times New Roman" pitchFamily="18" charset="0"/>
              </a:rPr>
              <a:t> </a:t>
            </a:r>
            <a:r>
              <a:rPr lang="fr-FR" b="1" dirty="0" err="1">
                <a:ea typeface="Times New Roman" pitchFamily="18" charset="0"/>
                <a:cs typeface="Times New Roman" pitchFamily="18" charset="0"/>
              </a:rPr>
              <a:t>ceremony</a:t>
            </a:r>
            <a:r>
              <a:rPr lang="fr-FR" b="1" dirty="0">
                <a:ea typeface="Times New Roman" pitchFamily="18" charset="0"/>
                <a:cs typeface="Times New Roman" pitchFamily="18" charset="0"/>
              </a:rPr>
              <a:t> of the agreement at the </a:t>
            </a:r>
            <a:r>
              <a:rPr lang="fr-FR" b="1" dirty="0" err="1">
                <a:ea typeface="Times New Roman" pitchFamily="18" charset="0"/>
                <a:cs typeface="Times New Roman" pitchFamily="18" charset="0"/>
              </a:rPr>
              <a:t>Embassy</a:t>
            </a:r>
            <a:r>
              <a:rPr lang="fr-FR" b="1" dirty="0">
                <a:ea typeface="Times New Roman" pitchFamily="18" charset="0"/>
                <a:cs typeface="Times New Roman" pitchFamily="18" charset="0"/>
              </a:rPr>
              <a:t> of JAPAN on </a:t>
            </a:r>
            <a:r>
              <a:rPr lang="fr-FR" b="1" dirty="0" err="1">
                <a:ea typeface="Times New Roman" pitchFamily="18" charset="0"/>
                <a:cs typeface="Times New Roman" pitchFamily="18" charset="0"/>
              </a:rPr>
              <a:t>January</a:t>
            </a:r>
            <a:r>
              <a:rPr lang="fr-FR" b="1" dirty="0">
                <a:ea typeface="Times New Roman" pitchFamily="18" charset="0"/>
                <a:cs typeface="Times New Roman" pitchFamily="18" charset="0"/>
              </a:rPr>
              <a:t> 07, 2016.</a:t>
            </a:r>
            <a:endParaRPr kumimoji="0" lang="fr-FR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pic>
        <p:nvPicPr>
          <p:cNvPr id="19" name="Image 18" descr="C:\Users\Toshiba\Downloads\P1020163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23010" y="3163030"/>
            <a:ext cx="4263390" cy="2845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Image 20" descr="C:\Users\Toshiba\Downloads\P1020203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23484" y="3163030"/>
            <a:ext cx="4173150" cy="2845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024719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1049936" y="1498089"/>
            <a:ext cx="343908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Patient Support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2244140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Hôpital Roi Baudoin</a:t>
            </a:r>
            <a:endParaRPr lang="fr-FR" sz="2000" b="1" dirty="0">
              <a:solidFill>
                <a:schemeClr val="bg1"/>
              </a:solidFill>
            </a:endParaRPr>
          </a:p>
        </p:txBody>
      </p:sp>
      <p:sp>
        <p:nvSpPr>
          <p:cNvPr id="14" name="Flèche droite 13"/>
          <p:cNvSpPr/>
          <p:nvPr/>
        </p:nvSpPr>
        <p:spPr>
          <a:xfrm>
            <a:off x="1149694" y="2606085"/>
            <a:ext cx="563187" cy="288121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ZoneTexte 2"/>
          <p:cNvSpPr txBox="1"/>
          <p:nvPr/>
        </p:nvSpPr>
        <p:spPr>
          <a:xfrm>
            <a:off x="1863090" y="2571040"/>
            <a:ext cx="457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2"/>
            <a:r>
              <a:rPr lang="fr-CH" b="1" dirty="0">
                <a:latin typeface="Calibri" panose="020F0502020204030204" pitchFamily="34" charset="0"/>
              </a:rPr>
              <a:t>1st </a:t>
            </a:r>
            <a:r>
              <a:rPr lang="fr-CH" b="1" dirty="0" err="1">
                <a:latin typeface="Calibri" panose="020F0502020204030204" pitchFamily="34" charset="0"/>
              </a:rPr>
              <a:t>generation</a:t>
            </a:r>
            <a:r>
              <a:rPr lang="fr-CH" b="1" dirty="0">
                <a:latin typeface="Calibri" panose="020F0502020204030204" pitchFamily="34" charset="0"/>
              </a:rPr>
              <a:t> digital </a:t>
            </a:r>
            <a:r>
              <a:rPr lang="fr-CH" b="1" dirty="0" err="1">
                <a:latin typeface="Calibri" panose="020F0502020204030204" pitchFamily="34" charset="0"/>
              </a:rPr>
              <a:t>mammography</a:t>
            </a:r>
            <a:r>
              <a:rPr lang="fr-CH" b="1" dirty="0">
                <a:latin typeface="Calibri" panose="020F0502020204030204" pitchFamily="34" charset="0"/>
              </a:rPr>
              <a:t> machine</a:t>
            </a:r>
            <a:endParaRPr lang="fr-FR" dirty="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1214" y="3072140"/>
            <a:ext cx="3583718" cy="2780019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7619" y="3072140"/>
            <a:ext cx="3879581" cy="306577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9" y="3051109"/>
            <a:ext cx="2616525" cy="34930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ZoneTexte 19"/>
          <p:cNvSpPr txBox="1"/>
          <p:nvPr/>
        </p:nvSpPr>
        <p:spPr>
          <a:xfrm>
            <a:off x="4190487" y="5907442"/>
            <a:ext cx="30587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ppareil installé et fonctionnel</a:t>
            </a:r>
          </a:p>
        </p:txBody>
      </p:sp>
    </p:spTree>
    <p:extLst>
      <p:ext uri="{BB962C8B-B14F-4D97-AF65-F5344CB8AC3E}">
        <p14:creationId xmlns:p14="http://schemas.microsoft.com/office/powerpoint/2010/main" val="32194350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1049936" y="1498089"/>
            <a:ext cx="343908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Patient Support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4147802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dirty="0" err="1">
                <a:solidFill>
                  <a:schemeClr val="bg1"/>
                </a:solidFill>
              </a:rPr>
              <a:t>Regional</a:t>
            </a:r>
            <a:r>
              <a:rPr lang="fr-FR" sz="2000" dirty="0">
                <a:solidFill>
                  <a:schemeClr val="bg1"/>
                </a:solidFill>
              </a:rPr>
              <a:t> </a:t>
            </a:r>
            <a:r>
              <a:rPr lang="fr-FR" sz="2000" dirty="0" err="1">
                <a:solidFill>
                  <a:schemeClr val="bg1"/>
                </a:solidFill>
              </a:rPr>
              <a:t>Hospitals</a:t>
            </a:r>
            <a:r>
              <a:rPr lang="fr-FR" sz="2000" dirty="0">
                <a:solidFill>
                  <a:schemeClr val="bg1"/>
                </a:solidFill>
              </a:rPr>
              <a:t> and </a:t>
            </a:r>
            <a:r>
              <a:rPr lang="fr-FR" sz="2000" dirty="0" err="1">
                <a:solidFill>
                  <a:schemeClr val="bg1"/>
                </a:solidFill>
              </a:rPr>
              <a:t>Health</a:t>
            </a:r>
            <a:r>
              <a:rPr lang="fr-FR" sz="2000" dirty="0">
                <a:solidFill>
                  <a:schemeClr val="bg1"/>
                </a:solidFill>
              </a:rPr>
              <a:t> Centers</a:t>
            </a:r>
          </a:p>
        </p:txBody>
      </p:sp>
      <p:sp>
        <p:nvSpPr>
          <p:cNvPr id="17" name="Rectangle 1"/>
          <p:cNvSpPr>
            <a:spLocks noChangeArrowheads="1"/>
          </p:cNvSpPr>
          <p:nvPr/>
        </p:nvSpPr>
        <p:spPr bwMode="auto">
          <a:xfrm>
            <a:off x="284069" y="2728694"/>
            <a:ext cx="2553511" cy="4598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lvl="2">
              <a:lnSpc>
                <a:spcPct val="150000"/>
              </a:lnSpc>
            </a:pPr>
            <a:endParaRPr lang="fr-CH" sz="1400" b="1" dirty="0">
              <a:latin typeface="Calibri" panose="020F0502020204030204" pitchFamily="34" charset="0"/>
            </a:endParaRPr>
          </a:p>
          <a:p>
            <a:pPr marL="0" lvl="2">
              <a:lnSpc>
                <a:spcPct val="150000"/>
              </a:lnSpc>
            </a:pPr>
            <a:endParaRPr lang="fr-CH" sz="1400" b="1" dirty="0">
              <a:latin typeface="Calibri" panose="020F0502020204030204" pitchFamily="34" charset="0"/>
            </a:endParaRP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HÔPITAL  ROI BAUDOIN 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INSTITUT JOLIOT-CURIE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MBAO 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TAMBACOUNDA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KOUMPENTOUM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KOLDA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ZIGUINCHOR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FATICK , 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MBOUR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 THIES</a:t>
            </a:r>
          </a:p>
          <a:p>
            <a:pPr marL="0" lvl="2">
              <a:lnSpc>
                <a:spcPct val="150000"/>
              </a:lnSpc>
            </a:pPr>
            <a:endParaRPr lang="fr-CH" sz="1400" b="1" dirty="0">
              <a:latin typeface="Calibri" panose="020F0502020204030204" pitchFamily="34" charset="0"/>
            </a:endParaRPr>
          </a:p>
          <a:p>
            <a:pPr marL="0" lvl="2">
              <a:lnSpc>
                <a:spcPct val="150000"/>
              </a:lnSpc>
            </a:pPr>
            <a:endParaRPr lang="fr-CH" sz="1400" b="1" dirty="0">
              <a:latin typeface="Calibri" panose="020F0502020204030204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2841807" y="2303181"/>
            <a:ext cx="3495693" cy="46166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lvl="2"/>
            <a:r>
              <a:rPr lang="fr-CH" sz="2000" b="1" dirty="0">
                <a:latin typeface="Calibri" panose="020F0502020204030204" pitchFamily="34" charset="0"/>
              </a:rPr>
              <a:t>28 appareils de </a:t>
            </a:r>
            <a:r>
              <a:rPr lang="fr-CH" sz="2400" b="1" dirty="0">
                <a:latin typeface="Calibri" panose="020F0502020204030204" pitchFamily="34" charset="0"/>
              </a:rPr>
              <a:t>cryothérapie</a:t>
            </a:r>
            <a:endParaRPr lang="fr-CH" sz="2000" b="1" dirty="0">
              <a:latin typeface="Calibri" panose="020F0502020204030204" pitchFamily="34" charset="0"/>
            </a:endParaRPr>
          </a:p>
        </p:txBody>
      </p:sp>
      <p:sp>
        <p:nvSpPr>
          <p:cNvPr id="11" name="Ellipse 10"/>
          <p:cNvSpPr/>
          <p:nvPr/>
        </p:nvSpPr>
        <p:spPr>
          <a:xfrm flipH="1">
            <a:off x="8396812" y="2154283"/>
            <a:ext cx="2832275" cy="207373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/>
              <a:t>70 </a:t>
            </a:r>
            <a:r>
              <a:rPr lang="fr-FR" sz="2000" b="1" dirty="0"/>
              <a:t>000 000 FCFA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291861" y="3275463"/>
            <a:ext cx="3141471" cy="4293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Mékhé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Louga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ST Louis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RUFISQUE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TOUBA 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TIVAOUANE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PETE 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DIOURBEL 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KHOMBOLE </a:t>
            </a:r>
          </a:p>
          <a:p>
            <a:pPr marL="0" lvl="2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LINGUERE</a:t>
            </a:r>
          </a:p>
          <a:p>
            <a:pPr marL="457200" lvl="3" algn="just">
              <a:lnSpc>
                <a:spcPct val="150000"/>
              </a:lnSpc>
            </a:pPr>
            <a:endParaRPr lang="fr-CH" b="1" dirty="0">
              <a:latin typeface="Calibri" panose="020F0502020204030204" pitchFamily="34" charset="0"/>
            </a:endParaRPr>
          </a:p>
          <a:p>
            <a:pPr algn="just"/>
            <a:endParaRPr lang="wo-SN" dirty="0"/>
          </a:p>
          <a:p>
            <a:pPr algn="just"/>
            <a:endParaRPr lang="wo-SN" dirty="0"/>
          </a:p>
        </p:txBody>
      </p:sp>
      <p:sp>
        <p:nvSpPr>
          <p:cNvPr id="13" name="ZoneTexte 12"/>
          <p:cNvSpPr txBox="1"/>
          <p:nvPr/>
        </p:nvSpPr>
        <p:spPr>
          <a:xfrm>
            <a:off x="5915324" y="3459290"/>
            <a:ext cx="272590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lvl="3" algn="just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HOPITAL DE TOUBA  </a:t>
            </a:r>
          </a:p>
          <a:p>
            <a:pPr marL="457200" lvl="3" algn="just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HOPITAL DE MBOUR</a:t>
            </a:r>
          </a:p>
          <a:p>
            <a:pPr marL="457200" lvl="3" algn="just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KOLDA 2</a:t>
            </a:r>
          </a:p>
          <a:p>
            <a:pPr marL="457200" lvl="3" algn="just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MBAO</a:t>
            </a:r>
          </a:p>
          <a:p>
            <a:pPr marL="457200" lvl="3" algn="just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PIKINE</a:t>
            </a:r>
          </a:p>
          <a:p>
            <a:pPr marL="457200" lvl="3" algn="just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NDIAYE NDIAYE</a:t>
            </a:r>
          </a:p>
          <a:p>
            <a:pPr marL="457200" lvl="3" algn="just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PODOR</a:t>
            </a:r>
          </a:p>
          <a:p>
            <a:pPr marL="457200" lvl="3" algn="just">
              <a:lnSpc>
                <a:spcPct val="150000"/>
              </a:lnSpc>
            </a:pPr>
            <a:r>
              <a:rPr lang="fr-CH" sz="1400" b="1" dirty="0">
                <a:latin typeface="Calibri" panose="020F0502020204030204" pitchFamily="34" charset="0"/>
              </a:rPr>
              <a:t>Richard Toll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2154112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69" y="1387058"/>
            <a:ext cx="5063116" cy="4060905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272" y="1270078"/>
            <a:ext cx="4879306" cy="3208616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9652" y="4424725"/>
            <a:ext cx="5315144" cy="2259893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B9CEEA31-4AE7-6F31-0B65-6D1323066995}"/>
              </a:ext>
            </a:extLst>
          </p:cNvPr>
          <p:cNvSpPr txBox="1"/>
          <p:nvPr/>
        </p:nvSpPr>
        <p:spPr>
          <a:xfrm>
            <a:off x="3051810" y="3244334"/>
            <a:ext cx="61036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/>
              <a:t>Plus jamais ça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77A95AF-9126-D5A8-FA8E-21B5F5EE9CE6}"/>
              </a:ext>
            </a:extLst>
          </p:cNvPr>
          <p:cNvSpPr txBox="1"/>
          <p:nvPr/>
        </p:nvSpPr>
        <p:spPr>
          <a:xfrm>
            <a:off x="3051810" y="3244334"/>
            <a:ext cx="61036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/>
              <a:t>Plus jamais ça</a:t>
            </a:r>
          </a:p>
        </p:txBody>
      </p:sp>
    </p:spTree>
    <p:extLst>
      <p:ext uri="{BB962C8B-B14F-4D97-AF65-F5344CB8AC3E}">
        <p14:creationId xmlns:p14="http://schemas.microsoft.com/office/powerpoint/2010/main" val="95263468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DB2E843B-0066-774F-AD33-07952A3FF6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945" y="2439648"/>
            <a:ext cx="5669269" cy="4251952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04FECEE6-A3F4-5746-B7A2-786F96A6D84C}"/>
              </a:ext>
            </a:extLst>
          </p:cNvPr>
          <p:cNvSpPr txBox="1"/>
          <p:nvPr/>
        </p:nvSpPr>
        <p:spPr>
          <a:xfrm>
            <a:off x="1393617" y="1581273"/>
            <a:ext cx="9473784" cy="46166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fr-FR" sz="2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ppareils de thermoabl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80E99B3-B8BC-F842-A4EA-EB11D3744720}"/>
              </a:ext>
            </a:extLst>
          </p:cNvPr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9" name="Picture 2" descr="C:\Users\Toshiba\Desktop\LOGOS ASSOCIATIONS\12088187_758406247598243_4867945842152385594_n.jpg">
            <a:extLst>
              <a:ext uri="{FF2B5EF4-FFF2-40B4-BE49-F238E27FC236}">
                <a16:creationId xmlns:a16="http://schemas.microsoft.com/office/drawing/2014/main" id="{CF31B1E2-804A-7745-B936-B60322D4CA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202A924C-FFCA-7F48-AC89-FC70C7283386}"/>
              </a:ext>
            </a:extLst>
          </p:cNvPr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EFABD84-FC54-9E82-0DE7-0362808EF7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0860" y="2439648"/>
            <a:ext cx="4640579" cy="4422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67495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07E53100-DD29-1A42-81CA-2B8D50E117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202" y="1319187"/>
            <a:ext cx="11615595" cy="5499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59914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 err="1">
                <a:solidFill>
                  <a:srgbClr val="0070C0"/>
                </a:solidFill>
                <a:latin typeface="Calibri" panose="020F0502020204030204" pitchFamily="34" charset="0"/>
              </a:rPr>
              <a:t>Together</a:t>
            </a: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, </a:t>
            </a:r>
            <a:r>
              <a:rPr lang="fr-FR" sz="2400" dirty="0" err="1">
                <a:solidFill>
                  <a:srgbClr val="0070C0"/>
                </a:solidFill>
                <a:latin typeface="Calibri" panose="020F0502020204030204" pitchFamily="34" charset="0"/>
              </a:rPr>
              <a:t>Defeating</a:t>
            </a: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1049936" y="1498089"/>
            <a:ext cx="343908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Patient Support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4263155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dirty="0" err="1">
                <a:solidFill>
                  <a:schemeClr val="bg1"/>
                </a:solidFill>
              </a:rPr>
              <a:t>Regional</a:t>
            </a:r>
            <a:r>
              <a:rPr lang="fr-FR" sz="2000" dirty="0">
                <a:solidFill>
                  <a:schemeClr val="bg1"/>
                </a:solidFill>
              </a:rPr>
              <a:t> </a:t>
            </a:r>
            <a:r>
              <a:rPr lang="fr-FR" sz="2000" dirty="0" err="1">
                <a:solidFill>
                  <a:schemeClr val="bg1"/>
                </a:solidFill>
              </a:rPr>
              <a:t>Hospitals</a:t>
            </a:r>
            <a:r>
              <a:rPr lang="fr-FR" sz="2000" dirty="0">
                <a:solidFill>
                  <a:schemeClr val="bg1"/>
                </a:solidFill>
              </a:rPr>
              <a:t> and </a:t>
            </a:r>
            <a:r>
              <a:rPr lang="fr-FR" sz="2000" dirty="0" err="1">
                <a:solidFill>
                  <a:schemeClr val="bg1"/>
                </a:solidFill>
              </a:rPr>
              <a:t>Health</a:t>
            </a:r>
            <a:r>
              <a:rPr lang="fr-FR" sz="2000" dirty="0">
                <a:solidFill>
                  <a:schemeClr val="bg1"/>
                </a:solidFill>
              </a:rPr>
              <a:t> Centers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122" y="3788229"/>
            <a:ext cx="4407595" cy="2934590"/>
          </a:xfrm>
          <a:prstGeom prst="rect">
            <a:avLst/>
          </a:prstGeom>
        </p:spPr>
      </p:pic>
      <p:sp>
        <p:nvSpPr>
          <p:cNvPr id="14" name="ZoneTexte 13"/>
          <p:cNvSpPr txBox="1"/>
          <p:nvPr/>
        </p:nvSpPr>
        <p:spPr>
          <a:xfrm>
            <a:off x="155575" y="2891496"/>
            <a:ext cx="7024255" cy="5990679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Institut du cancer (2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Siège LISCA (2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Hôpital roi Beaudoin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Hôpital régionale de FATICK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Hôpital régionale de KAFFRINE 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DISTRICT SANITAIRE DE KOLDA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DISTRCT SANITAIRE DE LINGUERE </a:t>
            </a:r>
          </a:p>
          <a:p>
            <a:pPr>
              <a:lnSpc>
                <a:spcPct val="200000"/>
              </a:lnSpc>
            </a:pPr>
            <a:endParaRPr lang="fr-CH" sz="1600" dirty="0">
              <a:latin typeface="Calibri" panose="020F050202020403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fr-CH" sz="1600" dirty="0">
              <a:latin typeface="Calibri" panose="020F050202020403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fr-CH" sz="1600" dirty="0">
              <a:latin typeface="Calibri" panose="020F050202020403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fr-CH" sz="1600" dirty="0">
              <a:latin typeface="Calibri" panose="020F0502020204030204" pitchFamily="34" charset="0"/>
            </a:endParaRPr>
          </a:p>
          <a:p>
            <a:pPr>
              <a:lnSpc>
                <a:spcPct val="200000"/>
              </a:lnSpc>
            </a:pPr>
            <a:endParaRPr lang="fr-CH" sz="1600" dirty="0">
              <a:latin typeface="Calibri" panose="020F050202020403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Hôpital régionale de LOUGA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Hôpital régionale de TOUBA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Hôpital régionale de TAMBACOUNDA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Hôpital régionale de KEDOUGOU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Hôpital régionale de ZIGUINCHOR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District sanitaire de Mbao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District sanitaire de Mbao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fr-CH" sz="1600" dirty="0">
                <a:latin typeface="Calibri" panose="020F0502020204030204" pitchFamily="34" charset="0"/>
              </a:rPr>
              <a:t>HOPITAL PRINCIPAL DE DAKAR 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fr-CH" sz="1600" dirty="0">
              <a:latin typeface="Calibri" panose="020F0502020204030204" pitchFamily="34" charset="0"/>
            </a:endParaRPr>
          </a:p>
        </p:txBody>
      </p:sp>
      <p:sp>
        <p:nvSpPr>
          <p:cNvPr id="9" name="AutoShape 4" descr="RÃ©sultat de recherche d'images pour &quot;fondation bank of africa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9744097" y="2602504"/>
            <a:ext cx="1846619" cy="900112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177021" y="2689089"/>
            <a:ext cx="2303566" cy="73614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155575" y="2229383"/>
            <a:ext cx="3158428" cy="46166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CH" sz="2400" b="1" dirty="0">
                <a:latin typeface="Calibri" panose="020F0502020204030204" pitchFamily="34" charset="0"/>
              </a:rPr>
              <a:t>18 </a:t>
            </a:r>
            <a:r>
              <a:rPr lang="fr-CH" sz="2400" b="1" dirty="0" err="1">
                <a:latin typeface="Calibri" panose="020F0502020204030204" pitchFamily="34" charset="0"/>
              </a:rPr>
              <a:t>Video</a:t>
            </a:r>
            <a:r>
              <a:rPr lang="fr-CH" sz="2400" b="1" dirty="0">
                <a:latin typeface="Calibri" panose="020F0502020204030204" pitchFamily="34" charset="0"/>
              </a:rPr>
              <a:t> Colposcopes</a:t>
            </a:r>
          </a:p>
        </p:txBody>
      </p:sp>
      <p:sp>
        <p:nvSpPr>
          <p:cNvPr id="16" name="Ellipse 15"/>
          <p:cNvSpPr/>
          <p:nvPr/>
        </p:nvSpPr>
        <p:spPr>
          <a:xfrm>
            <a:off x="3465102" y="1982471"/>
            <a:ext cx="3267856" cy="11321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2000" b="1" dirty="0">
                <a:ln/>
                <a:solidFill>
                  <a:schemeClr val="bg1"/>
                </a:solidFill>
              </a:rPr>
              <a:t>120 000 000 Frs CFA</a:t>
            </a:r>
          </a:p>
        </p:txBody>
      </p:sp>
    </p:spTree>
    <p:extLst>
      <p:ext uri="{BB962C8B-B14F-4D97-AF65-F5344CB8AC3E}">
        <p14:creationId xmlns:p14="http://schemas.microsoft.com/office/powerpoint/2010/main" val="428860342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032" y="2506982"/>
            <a:ext cx="5883968" cy="4060691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410" y="4362868"/>
            <a:ext cx="4447220" cy="232873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29E52FB0-9A44-9A01-FB0F-A32995273799}"/>
              </a:ext>
            </a:extLst>
          </p:cNvPr>
          <p:cNvSpPr txBox="1"/>
          <p:nvPr/>
        </p:nvSpPr>
        <p:spPr>
          <a:xfrm>
            <a:off x="72246" y="1297630"/>
            <a:ext cx="49760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000" dirty="0"/>
              <a:t>Patient support</a:t>
            </a:r>
            <a:endParaRPr lang="fr-FR" sz="1400" i="1" dirty="0"/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87A6BA54-5A43-CA57-DBAD-8A7A1E6AC6F3}"/>
              </a:ext>
            </a:extLst>
          </p:cNvPr>
          <p:cNvCxnSpPr/>
          <p:nvPr/>
        </p:nvCxnSpPr>
        <p:spPr>
          <a:xfrm>
            <a:off x="447589" y="1853122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8">
            <a:extLst>
              <a:ext uri="{FF2B5EF4-FFF2-40B4-BE49-F238E27FC236}">
                <a16:creationId xmlns:a16="http://schemas.microsoft.com/office/drawing/2014/main" id="{769C341E-5DCC-7234-44E3-4259CE74ED04}"/>
              </a:ext>
            </a:extLst>
          </p:cNvPr>
          <p:cNvSpPr txBox="1"/>
          <p:nvPr/>
        </p:nvSpPr>
        <p:spPr>
          <a:xfrm>
            <a:off x="6024044" y="1438314"/>
            <a:ext cx="253069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Cancer Drug Donation</a:t>
            </a:r>
          </a:p>
        </p:txBody>
      </p:sp>
      <p:pic>
        <p:nvPicPr>
          <p:cNvPr id="1026" name="Picture 2" descr="Direct Relief commits $200,000 to affiliated aid groups in Turkey and Syria  after Feb. 5 earthquakes | News Channel 3-12">
            <a:extLst>
              <a:ext uri="{FF2B5EF4-FFF2-40B4-BE49-F238E27FC236}">
                <a16:creationId xmlns:a16="http://schemas.microsoft.com/office/drawing/2014/main" id="{DEE176B7-C87A-C28B-7903-92FF158F86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410" y="2005516"/>
            <a:ext cx="3810000" cy="21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71292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7668" y="2824856"/>
            <a:ext cx="7485681" cy="707886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4000" b="1" dirty="0">
                <a:solidFill>
                  <a:schemeClr val="bg1"/>
                </a:solidFill>
              </a:rPr>
              <a:t>Soutien aux Malades </a:t>
            </a:r>
          </a:p>
        </p:txBody>
      </p:sp>
    </p:spTree>
    <p:extLst>
      <p:ext uri="{BB962C8B-B14F-4D97-AF65-F5344CB8AC3E}">
        <p14:creationId xmlns:p14="http://schemas.microsoft.com/office/powerpoint/2010/main" val="281138623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2" y="2385495"/>
            <a:ext cx="7042994" cy="3903759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0227" y="1723052"/>
            <a:ext cx="2977571" cy="2560195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414887" y="4383828"/>
            <a:ext cx="2344049" cy="2371725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D49383A2-F77C-48AF-6D36-01A2BBC77AC3}"/>
              </a:ext>
            </a:extLst>
          </p:cNvPr>
          <p:cNvSpPr txBox="1"/>
          <p:nvPr/>
        </p:nvSpPr>
        <p:spPr>
          <a:xfrm>
            <a:off x="144202" y="1229339"/>
            <a:ext cx="49760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000" dirty="0"/>
              <a:t>Patient support</a:t>
            </a:r>
            <a:endParaRPr lang="fr-FR" sz="1400" i="1" dirty="0"/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B900FC96-8E7F-FDFE-A8EF-27E300AF11EE}"/>
              </a:ext>
            </a:extLst>
          </p:cNvPr>
          <p:cNvCxnSpPr/>
          <p:nvPr/>
        </p:nvCxnSpPr>
        <p:spPr>
          <a:xfrm>
            <a:off x="519545" y="1784831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8">
            <a:extLst>
              <a:ext uri="{FF2B5EF4-FFF2-40B4-BE49-F238E27FC236}">
                <a16:creationId xmlns:a16="http://schemas.microsoft.com/office/drawing/2014/main" id="{7C3B2254-24FB-F40B-82D8-5312C41FA394}"/>
              </a:ext>
            </a:extLst>
          </p:cNvPr>
          <p:cNvSpPr txBox="1"/>
          <p:nvPr/>
        </p:nvSpPr>
        <p:spPr>
          <a:xfrm>
            <a:off x="6096000" y="1370023"/>
            <a:ext cx="253069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Cancer Drug Donation</a:t>
            </a:r>
          </a:p>
        </p:txBody>
      </p:sp>
    </p:spTree>
    <p:extLst>
      <p:ext uri="{BB962C8B-B14F-4D97-AF65-F5344CB8AC3E}">
        <p14:creationId xmlns:p14="http://schemas.microsoft.com/office/powerpoint/2010/main" val="19059268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AC69FCB9-0A70-ABDE-4C23-E95CCDE5862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686729" y="1881147"/>
            <a:ext cx="1994983" cy="2659977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8B4A7A2F-3C45-A26F-DC78-C5221AA855B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50" t="31649" r="26894" b="10276"/>
          <a:stretch/>
        </p:blipFill>
        <p:spPr>
          <a:xfrm>
            <a:off x="3186502" y="2063470"/>
            <a:ext cx="1549110" cy="217090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7D5B202A-408F-D257-526F-E642313C5E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4994" y="1583282"/>
            <a:ext cx="3399281" cy="4532375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C7E66BF1-6BE4-B883-3E63-E738A88DBB2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90" t="26886" r="10389" b="15529"/>
          <a:stretch/>
        </p:blipFill>
        <p:spPr>
          <a:xfrm>
            <a:off x="71870" y="4283891"/>
            <a:ext cx="2647522" cy="2439486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1B3051DB-B6CF-46F4-A49C-29E06E4A481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0" t="9140" r="24184"/>
          <a:stretch/>
        </p:blipFill>
        <p:spPr>
          <a:xfrm rot="16200000">
            <a:off x="4511325" y="3289478"/>
            <a:ext cx="2431737" cy="4574031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77EA02F2-183C-D88D-99FB-EE9F28FAF5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8188" y="2146449"/>
            <a:ext cx="3231942" cy="4309256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806D4B31-34A0-1B38-9773-8A87BA78E2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685" y="2146449"/>
            <a:ext cx="2493538" cy="1870153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A05ABC8B-9151-9189-BE1C-F7BCA502B55B}"/>
              </a:ext>
            </a:extLst>
          </p:cNvPr>
          <p:cNvSpPr txBox="1"/>
          <p:nvPr/>
        </p:nvSpPr>
        <p:spPr>
          <a:xfrm>
            <a:off x="144202" y="1229339"/>
            <a:ext cx="49760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000" dirty="0"/>
              <a:t>Patient support</a:t>
            </a:r>
            <a:endParaRPr lang="fr-FR" sz="1400" i="1" dirty="0"/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052AE5D0-97D4-A0DD-A004-76B3405B0396}"/>
              </a:ext>
            </a:extLst>
          </p:cNvPr>
          <p:cNvCxnSpPr/>
          <p:nvPr/>
        </p:nvCxnSpPr>
        <p:spPr>
          <a:xfrm>
            <a:off x="519545" y="1784831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44158966-DBCC-E970-FC72-B8811AC3F5CE}"/>
              </a:ext>
            </a:extLst>
          </p:cNvPr>
          <p:cNvSpPr txBox="1"/>
          <p:nvPr/>
        </p:nvSpPr>
        <p:spPr>
          <a:xfrm>
            <a:off x="6096000" y="1370023"/>
            <a:ext cx="253069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Cancer Drug Donation</a:t>
            </a:r>
          </a:p>
        </p:txBody>
      </p:sp>
    </p:spTree>
    <p:extLst>
      <p:ext uri="{BB962C8B-B14F-4D97-AF65-F5344CB8AC3E}">
        <p14:creationId xmlns:p14="http://schemas.microsoft.com/office/powerpoint/2010/main" val="364435363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144202" y="1229339"/>
            <a:ext cx="49760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000" dirty="0"/>
              <a:t>Patient support</a:t>
            </a:r>
            <a:endParaRPr lang="fr-FR" sz="14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519545" y="1784831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096000" y="1370023"/>
            <a:ext cx="2530693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Cancer Drug Donation</a:t>
            </a: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893" y="2184192"/>
            <a:ext cx="5083112" cy="4370595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DC3F3D87-3480-F8A6-6F77-A8F850815C53}"/>
              </a:ext>
            </a:extLst>
          </p:cNvPr>
          <p:cNvSpPr txBox="1"/>
          <p:nvPr/>
        </p:nvSpPr>
        <p:spPr>
          <a:xfrm>
            <a:off x="519545" y="1982000"/>
            <a:ext cx="5657850" cy="1465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u="sng" dirty="0"/>
              <a:t>10 Donations</a:t>
            </a:r>
          </a:p>
          <a:p>
            <a:pPr algn="ctr"/>
            <a:endParaRPr lang="fr-FR" sz="1400" b="1" u="sng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dirty="0" err="1"/>
              <a:t>Anti-cancer</a:t>
            </a:r>
            <a:r>
              <a:rPr lang="fr-FR" dirty="0"/>
              <a:t> </a:t>
            </a:r>
            <a:r>
              <a:rPr lang="fr-FR" dirty="0" err="1"/>
              <a:t>drugs</a:t>
            </a:r>
            <a:r>
              <a:rPr lang="fr-FR" dirty="0"/>
              <a:t>
Protective </a:t>
            </a:r>
            <a:r>
              <a:rPr lang="fr-FR" dirty="0" err="1"/>
              <a:t>equipment</a:t>
            </a:r>
            <a:endParaRPr lang="fr-FR" sz="1600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3CA8A5B2-6B36-C3EE-8A48-AF2D04113DE0}"/>
              </a:ext>
            </a:extLst>
          </p:cNvPr>
          <p:cNvSpPr txBox="1"/>
          <p:nvPr/>
        </p:nvSpPr>
        <p:spPr>
          <a:xfrm>
            <a:off x="144202" y="3567489"/>
            <a:ext cx="6574347" cy="3010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u="sng" dirty="0" err="1"/>
              <a:t>Beneficiary</a:t>
            </a:r>
            <a:r>
              <a:rPr lang="fr-FR" sz="2400" b="1" u="sng" dirty="0"/>
              <a:t> </a:t>
            </a:r>
            <a:r>
              <a:rPr lang="fr-FR" sz="2400" b="1" u="sng" dirty="0" err="1"/>
              <a:t>Hospitals</a:t>
            </a:r>
            <a:r>
              <a:rPr lang="fr-FR" sz="2400" b="1" u="sng" dirty="0"/>
              <a:t> </a:t>
            </a:r>
          </a:p>
          <a:p>
            <a:pPr algn="ctr"/>
            <a:endParaRPr lang="fr-FR" sz="2400" b="1" u="sng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600" dirty="0">
                <a:latin typeface="Book Antiqua" panose="02040602050305030304" pitchFamily="18" charset="0"/>
              </a:rPr>
              <a:t>Aristide Le </a:t>
            </a:r>
            <a:r>
              <a:rPr lang="fr-FR" sz="1600" dirty="0" err="1">
                <a:latin typeface="Book Antiqua" panose="02040602050305030304" pitchFamily="18" charset="0"/>
              </a:rPr>
              <a:t>Dantec</a:t>
            </a:r>
            <a:r>
              <a:rPr lang="fr-FR" sz="1600" dirty="0">
                <a:latin typeface="Book Antiqua" panose="02040602050305030304" pitchFamily="18" charset="0"/>
              </a:rPr>
              <a:t> Hospital Joliot Curie Institute 
National Blood Transfusion Centre
</a:t>
            </a:r>
            <a:r>
              <a:rPr lang="fr-FR" sz="1600" dirty="0" err="1">
                <a:latin typeface="Book Antiqua" panose="02040602050305030304" pitchFamily="18" charset="0"/>
              </a:rPr>
              <a:t>Dalal</a:t>
            </a:r>
            <a:r>
              <a:rPr lang="fr-FR" sz="1600" dirty="0">
                <a:latin typeface="Book Antiqua" panose="02040602050305030304" pitchFamily="18" charset="0"/>
              </a:rPr>
              <a:t> </a:t>
            </a:r>
            <a:r>
              <a:rPr lang="fr-FR" sz="1600" dirty="0" err="1">
                <a:latin typeface="Book Antiqua" panose="02040602050305030304" pitchFamily="18" charset="0"/>
              </a:rPr>
              <a:t>Jamm</a:t>
            </a:r>
            <a:r>
              <a:rPr lang="fr-FR" sz="1600" dirty="0">
                <a:latin typeface="Book Antiqua" panose="02040602050305030304" pitchFamily="18" charset="0"/>
              </a:rPr>
              <a:t> National Hospital Center
Idrissa </a:t>
            </a:r>
            <a:r>
              <a:rPr lang="fr-FR" sz="1600" dirty="0" err="1">
                <a:latin typeface="Book Antiqua" panose="02040602050305030304" pitchFamily="18" charset="0"/>
              </a:rPr>
              <a:t>Pouye</a:t>
            </a:r>
            <a:r>
              <a:rPr lang="fr-FR" sz="1600" dirty="0">
                <a:latin typeface="Book Antiqua" panose="02040602050305030304" pitchFamily="18" charset="0"/>
              </a:rPr>
              <a:t> Hospital In Grand Yoff
Aristide </a:t>
            </a:r>
            <a:r>
              <a:rPr lang="fr-FR" sz="1600" dirty="0" err="1">
                <a:latin typeface="Book Antiqua" panose="02040602050305030304" pitchFamily="18" charset="0"/>
              </a:rPr>
              <a:t>Ledantec</a:t>
            </a:r>
            <a:r>
              <a:rPr lang="fr-FR" sz="1600" dirty="0">
                <a:latin typeface="Book Antiqua" panose="02040602050305030304" pitchFamily="18" charset="0"/>
              </a:rPr>
              <a:t> Hospital/</a:t>
            </a:r>
            <a:r>
              <a:rPr lang="fr-FR" sz="1600" dirty="0" err="1">
                <a:latin typeface="Book Antiqua" panose="02040602050305030304" pitchFamily="18" charset="0"/>
              </a:rPr>
              <a:t>Pediatric</a:t>
            </a:r>
            <a:r>
              <a:rPr lang="fr-FR" sz="1600" dirty="0">
                <a:latin typeface="Book Antiqua" panose="02040602050305030304" pitchFamily="18" charset="0"/>
              </a:rPr>
              <a:t> </a:t>
            </a:r>
            <a:r>
              <a:rPr lang="fr-FR" sz="1600" dirty="0" err="1">
                <a:latin typeface="Book Antiqua" panose="02040602050305030304" pitchFamily="18" charset="0"/>
              </a:rPr>
              <a:t>Oncology</a:t>
            </a:r>
            <a:r>
              <a:rPr lang="fr-FR" sz="1600" dirty="0">
                <a:latin typeface="Book Antiqua" panose="02040602050305030304" pitchFamily="18" charset="0"/>
              </a:rPr>
              <a:t>
</a:t>
            </a:r>
            <a:r>
              <a:rPr lang="fr-FR" sz="1600" dirty="0" err="1">
                <a:latin typeface="Book Antiqua" panose="02040602050305030304" pitchFamily="18" charset="0"/>
              </a:rPr>
              <a:t>Fann</a:t>
            </a:r>
            <a:r>
              <a:rPr lang="fr-FR" sz="1600" dirty="0">
                <a:latin typeface="Book Antiqua" panose="02040602050305030304" pitchFamily="18" charset="0"/>
              </a:rPr>
              <a:t> Hospital/</a:t>
            </a:r>
            <a:r>
              <a:rPr lang="fr-FR" sz="1600" dirty="0" err="1">
                <a:latin typeface="Book Antiqua" panose="02040602050305030304" pitchFamily="18" charset="0"/>
              </a:rPr>
              <a:t>Pulmonology</a:t>
            </a:r>
            <a:endParaRPr lang="fr-FR" sz="240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270664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                                                           </a:t>
            </a:r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D052492D-435B-3C4D-B1B7-8C6F0027BE30}"/>
              </a:ext>
            </a:extLst>
          </p:cNvPr>
          <p:cNvSpPr txBox="1"/>
          <p:nvPr/>
        </p:nvSpPr>
        <p:spPr>
          <a:xfrm>
            <a:off x="144202" y="1488300"/>
            <a:ext cx="7830565" cy="5329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2250"/>
              </a:spcAft>
            </a:pPr>
            <a:r>
              <a:rPr lang="fr-FR" sz="1800" dirty="0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don, annoncé le 17 mai 2021 à son excellence le  président </a:t>
            </a:r>
            <a:r>
              <a:rPr lang="fr-FR" sz="1800" dirty="0" err="1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cky</a:t>
            </a:r>
            <a:r>
              <a:rPr lang="fr-FR" sz="1800" dirty="0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ALL</a:t>
            </a:r>
          </a:p>
          <a:p>
            <a:pPr fontAlgn="base">
              <a:spcAft>
                <a:spcPts val="2250"/>
              </a:spcAft>
            </a:pPr>
            <a:endParaRPr lang="fr-FR" dirty="0">
              <a:solidFill>
                <a:srgbClr val="334559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Aft>
                <a:spcPts val="2250"/>
              </a:spcAft>
            </a:pPr>
            <a:r>
              <a:rPr lang="fr-FR" sz="1800" dirty="0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7 juillet 2021 à la Résidence de France de Dakar (Sénégal), en présence Dr </a:t>
            </a:r>
            <a:r>
              <a:rPr lang="fr-FR" sz="1800" dirty="0" err="1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lick</a:t>
            </a:r>
            <a:r>
              <a:rPr lang="fr-FR" sz="1800" dirty="0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sz="1800" dirty="0" err="1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n</a:t>
            </a:r>
            <a:r>
              <a:rPr lang="fr-FR" sz="1800" dirty="0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Chef de la Division de Lutte contre les Maladies Non Transmissibles au sein du Ministère de la Santé et de l’Action Sociale, de M. Régis </a:t>
            </a:r>
            <a:r>
              <a:rPr lang="fr-FR" sz="1800" dirty="0" err="1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ntaux</a:t>
            </a:r>
            <a:r>
              <a:rPr lang="fr-FR" sz="1800" dirty="0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Conseiller de Coopération et d’Action Culturelle, de l’équipe du laboratoire </a:t>
            </a:r>
            <a:r>
              <a:rPr lang="fr-FR" sz="1800" dirty="0" err="1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ogaran</a:t>
            </a:r>
            <a:r>
              <a:rPr lang="fr-FR" sz="1800" dirty="0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</a:p>
          <a:p>
            <a:pPr fontAlgn="base">
              <a:spcAft>
                <a:spcPts val="2250"/>
              </a:spcAft>
            </a:pPr>
            <a:endParaRPr lang="fr-FR" sz="1800" dirty="0">
              <a:solidFill>
                <a:srgbClr val="334559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Aft>
                <a:spcPts val="2250"/>
              </a:spcAft>
            </a:pPr>
            <a:r>
              <a:rPr lang="fr-FR" sz="1800" dirty="0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 donation effectuée par </a:t>
            </a:r>
            <a:r>
              <a:rPr lang="fr-FR" sz="1800" dirty="0" err="1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ogaran</a:t>
            </a:r>
            <a:r>
              <a:rPr lang="fr-FR" sz="1800" dirty="0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d’une valeur de près de 800 000 euros, porte sur 1500 boîtes de médicaments oncologiques (</a:t>
            </a:r>
            <a:r>
              <a:rPr lang="fr-FR" sz="1800" dirty="0" err="1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éfitinib</a:t>
            </a:r>
            <a:r>
              <a:rPr lang="fr-FR" sz="1800" dirty="0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fr-FR" sz="1800" dirty="0" err="1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verolimus</a:t>
            </a:r>
            <a:r>
              <a:rPr lang="fr-FR" sz="1800" dirty="0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fr-FR" sz="1800" dirty="0" err="1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gfilgrastim</a:t>
            </a:r>
            <a:r>
              <a:rPr lang="fr-FR" sz="1800" dirty="0">
                <a:solidFill>
                  <a:srgbClr val="33455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) qui ne sont pas commercialisés par le laboratoire au Sénégal.</a:t>
            </a:r>
            <a:endParaRPr lang="fr-FR" sz="105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fr-FR" sz="10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sz="105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B155B76-FD8D-8845-A777-8C1FEA8E0720}"/>
              </a:ext>
            </a:extLst>
          </p:cNvPr>
          <p:cNvSpPr txBox="1"/>
          <p:nvPr/>
        </p:nvSpPr>
        <p:spPr>
          <a:xfrm>
            <a:off x="779489" y="599606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3666DD0-CFD7-D147-B7B2-AD66C69DBBA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20" r="19485"/>
          <a:stretch/>
        </p:blipFill>
        <p:spPr>
          <a:xfrm>
            <a:off x="9589982" y="38454"/>
            <a:ext cx="2057375" cy="1107655"/>
          </a:xfrm>
          <a:prstGeom prst="rect">
            <a:avLst/>
          </a:prstGeom>
        </p:spPr>
      </p:pic>
      <p:pic>
        <p:nvPicPr>
          <p:cNvPr id="1028" name="Picture 4" descr="Biogaran Monde - Médicaments génériques de qualité">
            <a:extLst>
              <a:ext uri="{FF2B5EF4-FFF2-40B4-BE49-F238E27FC236}">
                <a16:creationId xmlns:a16="http://schemas.microsoft.com/office/drawing/2014/main" id="{E4C04BEF-F6BA-1044-ADF3-B59C38473A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357" y="1146109"/>
            <a:ext cx="3429000" cy="2374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7358F435-6359-A84A-8372-463FE2343D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4767" y="3599794"/>
            <a:ext cx="4057337" cy="2967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49126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1400783" y="2603521"/>
            <a:ext cx="9114592" cy="2800767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8800" b="1" dirty="0">
                <a:solidFill>
                  <a:schemeClr val="bg1"/>
                </a:solidFill>
              </a:rPr>
              <a:t>PREVENTION DÉPISTAGE</a:t>
            </a:r>
            <a:endParaRPr lang="fr-FR" sz="40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04747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579052" y="1431287"/>
            <a:ext cx="236769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Dépistage</a:t>
            </a:r>
            <a:r>
              <a:rPr lang="fr-FR" sz="4400" dirty="0"/>
              <a:t> </a:t>
            </a:r>
            <a:endParaRPr lang="fr-FR" sz="16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1737976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Cancer du sein</a:t>
            </a:r>
          </a:p>
        </p:txBody>
      </p:sp>
      <p:sp>
        <p:nvSpPr>
          <p:cNvPr id="2" name="Rectangle 1"/>
          <p:cNvSpPr/>
          <p:nvPr/>
        </p:nvSpPr>
        <p:spPr>
          <a:xfrm>
            <a:off x="270293" y="2294623"/>
            <a:ext cx="38224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fr-FR" b="1" u="sng" dirty="0"/>
          </a:p>
          <a:p>
            <a:pPr algn="ctr"/>
            <a:r>
              <a:rPr lang="fr-FR" b="1" dirty="0"/>
              <a:t> </a:t>
            </a:r>
            <a:endParaRPr lang="fr-CH" sz="2200" b="1" dirty="0"/>
          </a:p>
        </p:txBody>
      </p:sp>
      <p:sp>
        <p:nvSpPr>
          <p:cNvPr id="3" name="Rectangle 2"/>
          <p:cNvSpPr/>
          <p:nvPr/>
        </p:nvSpPr>
        <p:spPr>
          <a:xfrm>
            <a:off x="324492" y="2363800"/>
            <a:ext cx="536850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4000" b="1" dirty="0">
                <a:solidFill>
                  <a:srgbClr val="FF3399"/>
                </a:solidFill>
              </a:rPr>
              <a:t>Octobre rose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6445008" y="2478350"/>
            <a:ext cx="328506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/>
              <a:t>Mammographie</a:t>
            </a:r>
            <a:endParaRPr lang="fr-CH" sz="2400" b="1" dirty="0"/>
          </a:p>
          <a:p>
            <a:endParaRPr lang="fr-FR" dirty="0"/>
          </a:p>
        </p:txBody>
      </p:sp>
      <p:sp>
        <p:nvSpPr>
          <p:cNvPr id="11" name="ZoneTexte 10"/>
          <p:cNvSpPr txBox="1"/>
          <p:nvPr/>
        </p:nvSpPr>
        <p:spPr>
          <a:xfrm>
            <a:off x="72182" y="3034849"/>
            <a:ext cx="11662554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endParaRPr lang="fr-FR" sz="1600" dirty="0"/>
          </a:p>
          <a:p>
            <a:pPr marL="285750" indent="-285750" algn="ctr">
              <a:buFont typeface="Wingdings" pitchFamily="2" charset="2"/>
              <a:buChar char="v"/>
            </a:pPr>
            <a:endParaRPr lang="fr-FR" sz="1600" b="1" u="sng" dirty="0"/>
          </a:p>
          <a:p>
            <a:pPr algn="ctr"/>
            <a:r>
              <a:rPr lang="fr-FR" sz="2800" b="1" u="sng" dirty="0"/>
              <a:t>Subvention de  la </a:t>
            </a:r>
            <a:r>
              <a:rPr lang="fr-CH" sz="2800" b="1" u="sng" dirty="0"/>
              <a:t>mammographie à </a:t>
            </a:r>
            <a:r>
              <a:rPr lang="fr-CH" sz="2800" b="1" u="sng" dirty="0">
                <a:solidFill>
                  <a:srgbClr val="FF0000"/>
                </a:solidFill>
              </a:rPr>
              <a:t>15 000 Frs </a:t>
            </a:r>
            <a:r>
              <a:rPr lang="fr-CH" sz="2800" b="1" u="sng" dirty="0"/>
              <a:t>CFA au lieu de </a:t>
            </a:r>
            <a:r>
              <a:rPr lang="fr-CH" sz="2800" b="1" u="sng" dirty="0">
                <a:solidFill>
                  <a:srgbClr val="FF0000"/>
                </a:solidFill>
              </a:rPr>
              <a:t>60 000 Frs </a:t>
            </a:r>
            <a:r>
              <a:rPr lang="fr-CH" sz="2800" b="1" u="sng" dirty="0"/>
              <a:t>CFA</a:t>
            </a:r>
          </a:p>
          <a:p>
            <a:pPr algn="ctr"/>
            <a:endParaRPr lang="fr-CH" sz="2400" b="1" u="sng" dirty="0"/>
          </a:p>
          <a:p>
            <a:pPr marL="342900" indent="-342900">
              <a:lnSpc>
                <a:spcPct val="2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r-FR" sz="2000" b="1" dirty="0"/>
              <a:t>21 300 </a:t>
            </a:r>
            <a:r>
              <a:rPr lang="fr-FR" sz="2400" dirty="0"/>
              <a:t>mammographies subventionnées ont été distribuées  depuis 2010</a:t>
            </a:r>
          </a:p>
          <a:p>
            <a:pPr marL="342900" indent="-342900">
              <a:lnSpc>
                <a:spcPct val="2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FF0000"/>
                </a:solidFill>
              </a:rPr>
              <a:t>2 937 </a:t>
            </a:r>
            <a:r>
              <a:rPr lang="fr-FR" sz="2800" b="1" dirty="0">
                <a:solidFill>
                  <a:srgbClr val="FF0000"/>
                </a:solidFill>
              </a:rPr>
              <a:t> </a:t>
            </a:r>
            <a:r>
              <a:rPr lang="fr-FR" sz="2400" dirty="0"/>
              <a:t>Bons gratuits de mammographie offerts</a:t>
            </a: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fr-FR" sz="2400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19448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579052" y="1431287"/>
            <a:ext cx="236769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Dépistage</a:t>
            </a:r>
            <a:r>
              <a:rPr lang="fr-FR" sz="4400" dirty="0"/>
              <a:t> </a:t>
            </a:r>
            <a:endParaRPr lang="fr-FR" sz="16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1737976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Cancer du sein</a:t>
            </a:r>
          </a:p>
        </p:txBody>
      </p:sp>
      <p:sp>
        <p:nvSpPr>
          <p:cNvPr id="2" name="Rectangle 1"/>
          <p:cNvSpPr/>
          <p:nvPr/>
        </p:nvSpPr>
        <p:spPr>
          <a:xfrm>
            <a:off x="377624" y="2633361"/>
            <a:ext cx="115062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3200" b="1" dirty="0"/>
              <a:t>Consultation Gratuite  de Sénologie</a:t>
            </a:r>
            <a:endParaRPr lang="fr-CH" sz="3600" b="1" dirty="0"/>
          </a:p>
        </p:txBody>
      </p:sp>
      <p:sp>
        <p:nvSpPr>
          <p:cNvPr id="3" name="ZoneTexte 2"/>
          <p:cNvSpPr txBox="1"/>
          <p:nvPr/>
        </p:nvSpPr>
        <p:spPr>
          <a:xfrm>
            <a:off x="1903751" y="3959047"/>
            <a:ext cx="95037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5400" b="1" dirty="0">
                <a:solidFill>
                  <a:srgbClr val="FF0000"/>
                </a:solidFill>
              </a:rPr>
              <a:t>67 736 </a:t>
            </a:r>
            <a:r>
              <a:rPr lang="fr-FR" sz="5400" b="1" dirty="0"/>
              <a:t>femmes consultées</a:t>
            </a:r>
            <a:endParaRPr lang="fr-FR" sz="5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86190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pic>
        <p:nvPicPr>
          <p:cNvPr id="13" name="Espace réservé du contenu 4" descr="IMG_0599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44202" y="1495831"/>
            <a:ext cx="4086456" cy="2359195"/>
          </a:xfrm>
          <a:prstGeom prst="rect">
            <a:avLst/>
          </a:prstGeom>
        </p:spPr>
      </p:pic>
      <p:pic>
        <p:nvPicPr>
          <p:cNvPr id="15" name="Picture 4" descr="C:\Users\Toshiba\Desktop\RA OCTOBRE ROSE\IMAGE EN VRAC\IMG_092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56793" y="1459232"/>
            <a:ext cx="3750796" cy="2432392"/>
          </a:xfrm>
          <a:prstGeom prst="rect">
            <a:avLst/>
          </a:prstGeom>
          <a:noFill/>
        </p:spPr>
      </p:pic>
      <p:pic>
        <p:nvPicPr>
          <p:cNvPr id="16" name="Espace réservé du contenu 10" descr="IMG_0612 (2).JPG"/>
          <p:cNvPicPr>
            <a:picLocks noChangeAspect="1"/>
          </p:cNvPicPr>
          <p:nvPr/>
        </p:nvPicPr>
        <p:blipFill>
          <a:blip r:embed="rId6" cstate="print"/>
          <a:srcRect t="-2381" r="37904"/>
          <a:stretch>
            <a:fillRect/>
          </a:stretch>
        </p:blipFill>
        <p:spPr>
          <a:xfrm>
            <a:off x="8233724" y="1319186"/>
            <a:ext cx="3877952" cy="5143959"/>
          </a:xfrm>
          <a:prstGeom prst="rect">
            <a:avLst/>
          </a:prstGeom>
        </p:spPr>
      </p:pic>
      <p:pic>
        <p:nvPicPr>
          <p:cNvPr id="17" name="Image 16" descr="IMG_0727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44202" y="4166293"/>
            <a:ext cx="4132994" cy="2296852"/>
          </a:xfrm>
          <a:prstGeom prst="rect">
            <a:avLst/>
          </a:prstGeom>
        </p:spPr>
      </p:pic>
      <p:pic>
        <p:nvPicPr>
          <p:cNvPr id="18" name="Image 17" descr="IMG_4879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403331" y="4166292"/>
            <a:ext cx="3704258" cy="2296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88376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-132583" y="1231699"/>
            <a:ext cx="25909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000" dirty="0"/>
              <a:t>Dépistage</a:t>
            </a:r>
            <a:r>
              <a:rPr lang="fr-FR" sz="4400" dirty="0"/>
              <a:t> </a:t>
            </a:r>
            <a:endParaRPr lang="fr-FR" sz="16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175553" y="1884865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096000" y="1483567"/>
            <a:ext cx="1737976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Cancer du sein</a:t>
            </a:r>
          </a:p>
        </p:txBody>
      </p:sp>
      <p:pic>
        <p:nvPicPr>
          <p:cNvPr id="17" name="Image 16" descr="DSC_0050.JPG"/>
          <p:cNvPicPr/>
          <p:nvPr/>
        </p:nvPicPr>
        <p:blipFill rotWithShape="1">
          <a:blip r:embed="rId4" cstate="print"/>
          <a:srcRect l="4640" t="7149" r="6337" b="4000"/>
          <a:stretch/>
        </p:blipFill>
        <p:spPr>
          <a:xfrm>
            <a:off x="152230" y="2200729"/>
            <a:ext cx="3310497" cy="20360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8" name="Image 17" descr="DSC_0175.JPG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44202" y="4409925"/>
            <a:ext cx="3318525" cy="2224518"/>
          </a:xfrm>
          <a:prstGeom prst="rect">
            <a:avLst/>
          </a:prstGeom>
        </p:spPr>
      </p:pic>
      <p:pic>
        <p:nvPicPr>
          <p:cNvPr id="11" name="Image 10" descr="https://scontent.fdkr1-1.fna.fbcdn.net/t31.0-8/14524469_949824575123075_8304302802284914510_o.jpg"/>
          <p:cNvPicPr/>
          <p:nvPr/>
        </p:nvPicPr>
        <p:blipFill>
          <a:blip r:embed="rId6" cstate="print"/>
          <a:stretch>
            <a:fillRect/>
          </a:stretch>
        </p:blipFill>
        <p:spPr bwMode="auto">
          <a:xfrm>
            <a:off x="3684933" y="2201390"/>
            <a:ext cx="3492088" cy="2035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ZoneTexte 1"/>
          <p:cNvSpPr txBox="1"/>
          <p:nvPr/>
        </p:nvSpPr>
        <p:spPr>
          <a:xfrm>
            <a:off x="7398072" y="2109836"/>
            <a:ext cx="461236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Consultation de sénologie au siège de la LISCA</a:t>
            </a:r>
          </a:p>
        </p:txBody>
      </p:sp>
      <p:pic>
        <p:nvPicPr>
          <p:cNvPr id="1028" name="Picture 4" descr="Ã©sultat de recherche d'images pour &quot;LOGO EXPRESSO SENEGAL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7300" y="4222829"/>
            <a:ext cx="1504001" cy="8355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 descr="C:\Users\Toshiba\Desktop\octobre rose 2016 MME dieye\8 octobre\14559954_949831925122340_8865179551815919958_o.jp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07646" y="4494592"/>
            <a:ext cx="3483108" cy="222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er 8"/>
          <p:cNvGrpSpPr/>
          <p:nvPr/>
        </p:nvGrpSpPr>
        <p:grpSpPr>
          <a:xfrm>
            <a:off x="7078133" y="3725334"/>
            <a:ext cx="5332659" cy="3420534"/>
            <a:chOff x="7078133" y="2922117"/>
            <a:chExt cx="5332659" cy="3283111"/>
          </a:xfrm>
        </p:grpSpPr>
        <p:sp>
          <p:nvSpPr>
            <p:cNvPr id="16" name="ZoneTexte 15"/>
            <p:cNvSpPr txBox="1"/>
            <p:nvPr/>
          </p:nvSpPr>
          <p:spPr>
            <a:xfrm>
              <a:off x="7934604" y="4297013"/>
              <a:ext cx="4476188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Font typeface="Arial" charset="0"/>
                <a:buChar char="•"/>
              </a:pPr>
              <a:r>
                <a:rPr lang="fr-FR" sz="2000" dirty="0"/>
                <a:t>Subvention de 5 000 000 frs CFA /an</a:t>
              </a:r>
            </a:p>
            <a:p>
              <a:pPr marL="342900" indent="-342900">
                <a:buFont typeface="Arial" charset="0"/>
                <a:buChar char="•"/>
              </a:pPr>
              <a:r>
                <a:rPr lang="fr-FR" sz="2000" dirty="0"/>
                <a:t>Production de 10 000 dépliants</a:t>
              </a:r>
            </a:p>
            <a:p>
              <a:pPr marL="342900" indent="-342900">
                <a:buFont typeface="Arial" charset="0"/>
                <a:buChar char="•"/>
              </a:pPr>
              <a:r>
                <a:rPr lang="fr-FR" sz="2000" dirty="0"/>
                <a:t>1500 teeshirts</a:t>
              </a:r>
            </a:p>
            <a:p>
              <a:pPr marL="342900" indent="-342900">
                <a:buFont typeface="Arial" charset="0"/>
                <a:buChar char="•"/>
              </a:pPr>
              <a:r>
                <a:rPr lang="fr-FR" sz="2000" dirty="0"/>
                <a:t>2500 bouteilles d’eau </a:t>
              </a:r>
            </a:p>
            <a:p>
              <a:pPr algn="ctr"/>
              <a:endParaRPr lang="fr-FR" sz="2000" dirty="0"/>
            </a:p>
            <a:p>
              <a:pPr algn="ctr"/>
              <a:endParaRPr lang="fr-FR" dirty="0"/>
            </a:p>
          </p:txBody>
        </p:sp>
        <p:sp>
          <p:nvSpPr>
            <p:cNvPr id="3" name="Rectangle 2"/>
            <p:cNvSpPr/>
            <p:nvPr/>
          </p:nvSpPr>
          <p:spPr>
            <a:xfrm>
              <a:off x="7078133" y="3872152"/>
              <a:ext cx="3272969" cy="3840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2000" b="1" dirty="0"/>
                <a:t>2015 -2016 </a:t>
              </a:r>
              <a:r>
                <a:rPr lang="mr-IN" sz="2000" b="1" dirty="0"/>
                <a:t>–</a:t>
              </a:r>
              <a:r>
                <a:rPr lang="fr-FR" sz="2000" b="1" dirty="0"/>
                <a:t> 2017 </a:t>
              </a:r>
              <a:r>
                <a:rPr lang="mr-IN" sz="2000" b="1" dirty="0"/>
                <a:t>–</a:t>
              </a:r>
              <a:r>
                <a:rPr lang="fr-FR" sz="2000" b="1" dirty="0"/>
                <a:t> 2018</a:t>
              </a:r>
            </a:p>
          </p:txBody>
        </p:sp>
        <p:pic>
          <p:nvPicPr>
            <p:cNvPr id="20" name="Picture 2" descr="C:\Users\Toshiba\Desktop\LOGOS ASSOCIATIONS\12088187_758406247598243_4867945842152385594_n.jpg"/>
            <p:cNvPicPr>
              <a:picLocks noChangeAspect="1" noChangeArrowheads="1"/>
            </p:cNvPicPr>
            <p:nvPr/>
          </p:nvPicPr>
          <p:blipFill>
            <a:blip r:embed="rId2" cstate="print"/>
            <a:stretch>
              <a:fillRect/>
            </a:stretch>
          </p:blipFill>
          <p:spPr bwMode="auto">
            <a:xfrm>
              <a:off x="7177021" y="2922117"/>
              <a:ext cx="1964527" cy="62509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1" name="Rectangle 20"/>
            <p:cNvSpPr/>
            <p:nvPr/>
          </p:nvSpPr>
          <p:spPr>
            <a:xfrm>
              <a:off x="7393184" y="3501467"/>
              <a:ext cx="135847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2000" b="1" dirty="0"/>
                <a:t> </a:t>
              </a:r>
            </a:p>
          </p:txBody>
        </p:sp>
      </p:grpSp>
      <p:sp>
        <p:nvSpPr>
          <p:cNvPr id="13" name="ZoneTexte 12"/>
          <p:cNvSpPr txBox="1"/>
          <p:nvPr/>
        </p:nvSpPr>
        <p:spPr>
          <a:xfrm>
            <a:off x="7393184" y="2612229"/>
            <a:ext cx="49112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fr-FR" dirty="0"/>
              <a:t>3400 </a:t>
            </a:r>
            <a:r>
              <a:rPr lang="fr-FR" dirty="0">
                <a:solidFill>
                  <a:srgbClr val="FF0000"/>
                </a:solidFill>
              </a:rPr>
              <a:t>femmes consultées</a:t>
            </a:r>
          </a:p>
          <a:p>
            <a:pPr marL="285750" indent="-285750">
              <a:buFont typeface="Arial" charset="0"/>
              <a:buChar char="•"/>
            </a:pPr>
            <a:r>
              <a:rPr lang="fr-FR" dirty="0"/>
              <a:t>400   bons de Mammographie  Gratuits</a:t>
            </a:r>
          </a:p>
          <a:p>
            <a:pPr marL="285750" indent="-285750">
              <a:buFont typeface="Arial" charset="0"/>
              <a:buChar char="•"/>
            </a:pPr>
            <a:r>
              <a:rPr lang="fr-FR" dirty="0"/>
              <a:t>1800  bons  de Mammographie subventionnées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687439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50680" y="1124093"/>
            <a:ext cx="236769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Dépistage</a:t>
            </a:r>
            <a:r>
              <a:rPr lang="fr-FR" sz="4400" dirty="0"/>
              <a:t> </a:t>
            </a:r>
            <a:endParaRPr lang="fr-FR" sz="16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344779" y="183543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898424" y="1418060"/>
            <a:ext cx="1737976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Cancer du sein</a:t>
            </a:r>
          </a:p>
        </p:txBody>
      </p:sp>
      <p:pic>
        <p:nvPicPr>
          <p:cNvPr id="19" name="Image 18" descr="F:\VIDEO ET PHOTOS OCTOBRE ROSE 2016\CONSULTATIONS DU 22 OCTOBRE 2016\DSC_0920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4202" y="4520434"/>
            <a:ext cx="3481682" cy="2103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1" y="1989427"/>
            <a:ext cx="3481683" cy="2192607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8663" y="1992197"/>
            <a:ext cx="3602328" cy="2189837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8663" y="4520434"/>
            <a:ext cx="3602328" cy="2103320"/>
          </a:xfrm>
          <a:prstGeom prst="rect">
            <a:avLst/>
          </a:prstGeom>
        </p:spPr>
      </p:pic>
      <p:sp>
        <p:nvSpPr>
          <p:cNvPr id="22" name="ZoneTexte 21"/>
          <p:cNvSpPr txBox="1"/>
          <p:nvPr/>
        </p:nvSpPr>
        <p:spPr>
          <a:xfrm>
            <a:off x="7492908" y="2249325"/>
            <a:ext cx="4428798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Consultation de sénologie au Stade Léopold </a:t>
            </a:r>
            <a:r>
              <a:rPr lang="fr-FR" b="1" dirty="0" err="1"/>
              <a:t>Sédar</a:t>
            </a:r>
            <a:r>
              <a:rPr lang="fr-FR" b="1" dirty="0"/>
              <a:t> SENGHOR </a:t>
            </a:r>
          </a:p>
        </p:txBody>
      </p:sp>
      <p:grpSp>
        <p:nvGrpSpPr>
          <p:cNvPr id="25" name="Grouper 24"/>
          <p:cNvGrpSpPr/>
          <p:nvPr/>
        </p:nvGrpSpPr>
        <p:grpSpPr>
          <a:xfrm>
            <a:off x="7498732" y="3570514"/>
            <a:ext cx="4571348" cy="3204298"/>
            <a:chOff x="7642916" y="2829113"/>
            <a:chExt cx="5114457" cy="3599330"/>
          </a:xfrm>
        </p:grpSpPr>
        <p:grpSp>
          <p:nvGrpSpPr>
            <p:cNvPr id="21" name="Grouper 20"/>
            <p:cNvGrpSpPr/>
            <p:nvPr/>
          </p:nvGrpSpPr>
          <p:grpSpPr>
            <a:xfrm>
              <a:off x="7642916" y="2829113"/>
              <a:ext cx="1831708" cy="1479032"/>
              <a:chOff x="7584831" y="2152187"/>
              <a:chExt cx="1831708" cy="1479032"/>
            </a:xfrm>
          </p:grpSpPr>
          <p:pic>
            <p:nvPicPr>
              <p:cNvPr id="2050" name="Picture 2" descr="Ã©sultat de recherche d'images pour &quot;LOGO lonase&quot;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98323" y="2691063"/>
                <a:ext cx="1089519" cy="9401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8" name="Rectangle 17"/>
              <p:cNvSpPr/>
              <p:nvPr/>
            </p:nvSpPr>
            <p:spPr>
              <a:xfrm>
                <a:off x="7584831" y="2152187"/>
                <a:ext cx="1831708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fr-FR" sz="2000" b="1" dirty="0"/>
                  <a:t>2016 - 2017</a:t>
                </a:r>
              </a:p>
            </p:txBody>
          </p:sp>
        </p:grpSp>
        <p:grpSp>
          <p:nvGrpSpPr>
            <p:cNvPr id="23" name="Grouper 22"/>
            <p:cNvGrpSpPr/>
            <p:nvPr/>
          </p:nvGrpSpPr>
          <p:grpSpPr>
            <a:xfrm>
              <a:off x="9810089" y="2829113"/>
              <a:ext cx="2781649" cy="1614708"/>
              <a:chOff x="9752004" y="2152187"/>
              <a:chExt cx="2781649" cy="1614708"/>
            </a:xfrm>
          </p:grpSpPr>
          <p:pic>
            <p:nvPicPr>
              <p:cNvPr id="2052" name="Picture 4" descr="mage associÃ©e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752004" y="2198639"/>
                <a:ext cx="2781649" cy="15682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" name="Rectangle 19"/>
              <p:cNvSpPr/>
              <p:nvPr/>
            </p:nvSpPr>
            <p:spPr>
              <a:xfrm>
                <a:off x="10353881" y="2152187"/>
                <a:ext cx="1818733" cy="44943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fr-FR" sz="2000" b="1" dirty="0"/>
                  <a:t>2018 - 2019</a:t>
                </a:r>
              </a:p>
            </p:txBody>
          </p:sp>
        </p:grpSp>
        <p:sp>
          <p:nvSpPr>
            <p:cNvPr id="16" name="ZoneTexte 15"/>
            <p:cNvSpPr txBox="1"/>
            <p:nvPr/>
          </p:nvSpPr>
          <p:spPr>
            <a:xfrm>
              <a:off x="7802035" y="4457839"/>
              <a:ext cx="4955338" cy="19706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charset="0"/>
                <a:buChar char="•"/>
              </a:pPr>
              <a:r>
                <a:rPr lang="fr-FR" dirty="0">
                  <a:solidFill>
                    <a:srgbClr val="FF0000"/>
                  </a:solidFill>
                </a:rPr>
                <a:t>Environ 2000 femmes consultées chaque année</a:t>
              </a:r>
            </a:p>
            <a:p>
              <a:pPr marL="285750" indent="-285750">
                <a:buFont typeface="Arial" charset="0"/>
                <a:buChar char="•"/>
              </a:pPr>
              <a:r>
                <a:rPr lang="fr-FR" dirty="0"/>
                <a:t>300    bons de Mammographie  Gratuits</a:t>
              </a:r>
            </a:p>
            <a:p>
              <a:pPr marL="285750" indent="-285750">
                <a:buFont typeface="Arial" charset="0"/>
                <a:buChar char="•"/>
              </a:pPr>
              <a:r>
                <a:rPr lang="fr-FR" dirty="0"/>
                <a:t>2000 bons  de Mammographie subventionnées</a:t>
              </a:r>
            </a:p>
            <a:p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12281841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71432" y="164129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81457" y="1498089"/>
            <a:ext cx="4976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Soutien aux malades</a:t>
            </a:r>
            <a:endParaRPr lang="fr-FR" sz="1400" i="1" dirty="0"/>
          </a:p>
        </p:txBody>
      </p:sp>
      <p:sp>
        <p:nvSpPr>
          <p:cNvPr id="9" name="ZoneTexte 8"/>
          <p:cNvSpPr txBox="1"/>
          <p:nvPr/>
        </p:nvSpPr>
        <p:spPr>
          <a:xfrm>
            <a:off x="6168247" y="1693479"/>
            <a:ext cx="3387274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Prise en charge thérapeutique</a:t>
            </a:r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oneTexte 13"/>
          <p:cNvSpPr txBox="1"/>
          <p:nvPr/>
        </p:nvSpPr>
        <p:spPr>
          <a:xfrm>
            <a:off x="663127" y="2201311"/>
            <a:ext cx="11108267" cy="64633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>
                <a:solidFill>
                  <a:srgbClr val="000090"/>
                </a:solidFill>
              </a:rPr>
              <a:t>MORE THAN </a:t>
            </a:r>
            <a:r>
              <a:rPr lang="fr-FR" sz="3600" b="1" dirty="0">
                <a:solidFill>
                  <a:srgbClr val="FF0000"/>
                </a:solidFill>
              </a:rPr>
              <a:t>3377</a:t>
            </a:r>
            <a:r>
              <a:rPr lang="fr-FR" sz="3200" b="1" dirty="0">
                <a:solidFill>
                  <a:srgbClr val="000090"/>
                </a:solidFill>
              </a:rPr>
              <a:t> PATIENTS TREATED </a:t>
            </a:r>
            <a:r>
              <a:rPr lang="fr-FR" sz="3200" b="1" dirty="0" err="1">
                <a:solidFill>
                  <a:srgbClr val="000090"/>
                </a:solidFill>
              </a:rPr>
              <a:t>since</a:t>
            </a:r>
            <a:r>
              <a:rPr lang="fr-FR" sz="3200" b="1" dirty="0">
                <a:solidFill>
                  <a:srgbClr val="000090"/>
                </a:solidFill>
              </a:rPr>
              <a:t> 2010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7398072" y="6313378"/>
            <a:ext cx="1846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sz="1400" b="1" dirty="0">
              <a:solidFill>
                <a:schemeClr val="tx1"/>
              </a:solidFill>
            </a:endParaRPr>
          </a:p>
          <a:p>
            <a:endParaRPr lang="fr-FR" sz="1400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94AF4150-FFAD-B341-BC75-51DBB52B666C}"/>
              </a:ext>
            </a:extLst>
          </p:cNvPr>
          <p:cNvSpPr txBox="1"/>
          <p:nvPr/>
        </p:nvSpPr>
        <p:spPr>
          <a:xfrm>
            <a:off x="269720" y="2952334"/>
            <a:ext cx="7240254" cy="3359446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 marL="457200" marR="0" indent="-457200" algn="l" rtl="0">
              <a:lnSpc>
                <a:spcPct val="200000"/>
              </a:lnSpc>
              <a:buFont typeface="Wingdings" pitchFamily="2" charset="2"/>
              <a:buChar char="§"/>
            </a:pPr>
            <a:r>
              <a:rPr lang="fr-FR" sz="3600" b="1" i="0" u="none" strike="noStrike" baseline="0" dirty="0">
                <a:latin typeface="Book Antiqua" panose="02040602050305030304" pitchFamily="18" charset="0"/>
              </a:rPr>
              <a:t>2016  :   80</a:t>
            </a:r>
          </a:p>
          <a:p>
            <a:pPr marL="457200" indent="-457200" rtl="0">
              <a:lnSpc>
                <a:spcPct val="200000"/>
              </a:lnSpc>
              <a:buFont typeface="Wingdings" pitchFamily="2" charset="2"/>
              <a:buChar char="§"/>
            </a:pPr>
            <a:r>
              <a:rPr lang="fr-FR" sz="3600" b="1" i="0" u="none" strike="noStrike" baseline="0" dirty="0">
                <a:latin typeface="Book Antiqua" panose="02040602050305030304" pitchFamily="18" charset="0"/>
              </a:rPr>
              <a:t>2017  :   142</a:t>
            </a:r>
          </a:p>
          <a:p>
            <a:pPr marL="457200" indent="-457200" rtl="0">
              <a:lnSpc>
                <a:spcPct val="200000"/>
              </a:lnSpc>
              <a:buFont typeface="Wingdings" pitchFamily="2" charset="2"/>
              <a:buChar char="§"/>
            </a:pPr>
            <a:r>
              <a:rPr lang="fr-FR" sz="3600" b="1" i="0" u="none" strike="noStrike" baseline="0" dirty="0">
                <a:latin typeface="Book Antiqua" panose="02040602050305030304" pitchFamily="18" charset="0"/>
              </a:rPr>
              <a:t>2018  :  339</a:t>
            </a:r>
          </a:p>
          <a:p>
            <a:pPr marL="457200" indent="-457200" rtl="0">
              <a:lnSpc>
                <a:spcPct val="200000"/>
              </a:lnSpc>
              <a:buFont typeface="Wingdings" pitchFamily="2" charset="2"/>
              <a:buChar char="§"/>
            </a:pPr>
            <a:r>
              <a:rPr lang="fr-FR" sz="3600" b="1" i="0" u="none" strike="noStrike" baseline="0" dirty="0">
                <a:latin typeface="Book Antiqua" panose="02040602050305030304" pitchFamily="18" charset="0"/>
              </a:rPr>
              <a:t>2019  :   339</a:t>
            </a:r>
          </a:p>
          <a:p>
            <a:pPr marL="457200" indent="-457200" rtl="0">
              <a:lnSpc>
                <a:spcPct val="200000"/>
              </a:lnSpc>
              <a:buFont typeface="Wingdings" pitchFamily="2" charset="2"/>
              <a:buChar char="§"/>
            </a:pPr>
            <a:r>
              <a:rPr lang="fr-FR" sz="3600" b="1" i="0" u="none" strike="noStrike" baseline="0" dirty="0">
                <a:latin typeface="Book Antiqua" panose="02040602050305030304" pitchFamily="18" charset="0"/>
              </a:rPr>
              <a:t>2020  :   310</a:t>
            </a:r>
          </a:p>
          <a:p>
            <a:pPr marL="457200" indent="-457200" rtl="0">
              <a:lnSpc>
                <a:spcPct val="200000"/>
              </a:lnSpc>
              <a:buFont typeface="Wingdings" pitchFamily="2" charset="2"/>
              <a:buChar char="§"/>
            </a:pPr>
            <a:r>
              <a:rPr lang="fr-FR" sz="3600" b="1" i="0" u="none" strike="noStrike" baseline="0" dirty="0">
                <a:latin typeface="Book Antiqua" panose="02040602050305030304" pitchFamily="18" charset="0"/>
              </a:rPr>
              <a:t> 2021  :  735</a:t>
            </a:r>
            <a:endParaRPr lang="fr-FR" sz="1800" b="1" i="0" u="none" strike="noStrike" baseline="0" dirty="0">
              <a:latin typeface="Book Antiqua" panose="02040602050305030304" pitchFamily="18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3BEA021B-E4D1-A9ED-17D8-417293AF5CBA}"/>
              </a:ext>
            </a:extLst>
          </p:cNvPr>
          <p:cNvSpPr txBox="1"/>
          <p:nvPr/>
        </p:nvSpPr>
        <p:spPr>
          <a:xfrm>
            <a:off x="7719805" y="3429000"/>
            <a:ext cx="6100548" cy="32629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indent="-457200" algn="l" rtl="0">
              <a:lnSpc>
                <a:spcPct val="200000"/>
              </a:lnSpc>
              <a:buFont typeface="Wingdings" pitchFamily="2" charset="2"/>
              <a:buChar char="§"/>
            </a:pPr>
            <a:r>
              <a:rPr lang="fr-FR" sz="3600" b="1" dirty="0">
                <a:latin typeface="Book Antiqua" panose="02040602050305030304" pitchFamily="18" charset="0"/>
              </a:rPr>
              <a:t>2022 :  602</a:t>
            </a:r>
          </a:p>
          <a:p>
            <a:pPr marL="457200" indent="-457200">
              <a:lnSpc>
                <a:spcPct val="200000"/>
              </a:lnSpc>
              <a:buFont typeface="Wingdings" pitchFamily="2" charset="2"/>
              <a:buChar char="§"/>
            </a:pPr>
            <a:r>
              <a:rPr lang="fr-FR" sz="3600" b="1" dirty="0">
                <a:latin typeface="Book Antiqua" panose="02040602050305030304" pitchFamily="18" charset="0"/>
              </a:rPr>
              <a:t>2023 :  830</a:t>
            </a:r>
          </a:p>
          <a:p>
            <a:pPr marL="457200" marR="0" indent="-457200" algn="l" rtl="0">
              <a:lnSpc>
                <a:spcPct val="200000"/>
              </a:lnSpc>
              <a:buFont typeface="Wingdings" pitchFamily="2" charset="2"/>
              <a:buChar char="§"/>
            </a:pPr>
            <a:endParaRPr lang="fr-FR" sz="3600" b="1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189430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2" y="1319187"/>
            <a:ext cx="3607911" cy="2594583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2" y="4048393"/>
            <a:ext cx="3607911" cy="2705933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6135" y="1300122"/>
            <a:ext cx="3630776" cy="2613648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467" y="1321978"/>
            <a:ext cx="4013200" cy="5350933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581" y="4029328"/>
            <a:ext cx="3633330" cy="2724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67113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pic>
        <p:nvPicPr>
          <p:cNvPr id="18" name="Image 17" descr="IMG_00000090.jpg"/>
          <p:cNvPicPr>
            <a:picLocks noChangeAspect="1"/>
          </p:cNvPicPr>
          <p:nvPr/>
        </p:nvPicPr>
        <p:blipFill rotWithShape="1">
          <a:blip r:embed="rId4" cstate="print">
            <a:alphaModFix amt="20000"/>
          </a:blip>
          <a:srcRect r="12833"/>
          <a:stretch/>
        </p:blipFill>
        <p:spPr>
          <a:xfrm>
            <a:off x="3828491" y="2463367"/>
            <a:ext cx="1941813" cy="3906604"/>
          </a:xfrm>
          <a:prstGeom prst="rect">
            <a:avLst/>
          </a:prstGeom>
          <a:effectLst>
            <a:outerShdw blurRad="266700" dist="215900" dir="9480000" algn="br">
              <a:srgbClr val="000000">
                <a:alpha val="63000"/>
              </a:srgbClr>
            </a:outerShdw>
          </a:effectLst>
        </p:spPr>
      </p:pic>
      <p:sp>
        <p:nvSpPr>
          <p:cNvPr id="24" name="ZoneTexte 23"/>
          <p:cNvSpPr txBox="1"/>
          <p:nvPr/>
        </p:nvSpPr>
        <p:spPr>
          <a:xfrm>
            <a:off x="246850" y="3932919"/>
            <a:ext cx="3184526" cy="1015663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>
                <a:solidFill>
                  <a:srgbClr val="FF0000"/>
                </a:solidFill>
                <a:latin typeface="Book Antiqua" panose="02040602050305030304" pitchFamily="18" charset="0"/>
                <a:ea typeface="Arial" panose="020B0604020202020204" pitchFamily="34" charset="0"/>
                <a:cs typeface="Arial" panose="020B0604020202020204" pitchFamily="34" charset="0"/>
              </a:rPr>
              <a:t>47 699</a:t>
            </a:r>
            <a:r>
              <a:rPr lang="fr-FR" sz="3200" dirty="0">
                <a:solidFill>
                  <a:srgbClr val="FF0000"/>
                </a:solidFill>
                <a:latin typeface="Book Antiqua" panose="02040602050305030304" pitchFamily="18" charset="0"/>
              </a:rPr>
              <a:t> </a:t>
            </a:r>
          </a:p>
          <a:p>
            <a:pPr algn="ctr"/>
            <a:r>
              <a:rPr lang="fr-FR" sz="2800" b="1" dirty="0"/>
              <a:t>Femmes dépistées </a:t>
            </a:r>
            <a:endParaRPr lang="fr-FR" sz="2000" b="1" dirty="0"/>
          </a:p>
        </p:txBody>
      </p:sp>
      <p:grpSp>
        <p:nvGrpSpPr>
          <p:cNvPr id="2" name="Grouper 1"/>
          <p:cNvGrpSpPr/>
          <p:nvPr/>
        </p:nvGrpSpPr>
        <p:grpSpPr>
          <a:xfrm>
            <a:off x="118553" y="1128306"/>
            <a:ext cx="8780650" cy="769441"/>
            <a:chOff x="80318" y="1065960"/>
            <a:chExt cx="8780650" cy="769441"/>
          </a:xfrm>
        </p:grpSpPr>
        <p:cxnSp>
          <p:nvCxnSpPr>
            <p:cNvPr id="10" name="Connecteur droit 9"/>
            <p:cNvCxnSpPr/>
            <p:nvPr/>
          </p:nvCxnSpPr>
          <p:spPr>
            <a:xfrm>
              <a:off x="105967" y="1785121"/>
              <a:ext cx="6574348" cy="397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ZoneTexte 24"/>
            <p:cNvSpPr txBox="1"/>
            <p:nvPr/>
          </p:nvSpPr>
          <p:spPr>
            <a:xfrm>
              <a:off x="6057765" y="1368228"/>
              <a:ext cx="2803203" cy="400110"/>
            </a:xfrm>
            <a:prstGeom prst="rect">
              <a:avLst/>
            </a:prstGeom>
            <a:solidFill>
              <a:srgbClr val="002060"/>
            </a:solidFill>
            <a:ln w="57150">
              <a:solidFill>
                <a:schemeClr val="accent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fr-FR" sz="2000" b="1" dirty="0">
                  <a:solidFill>
                    <a:schemeClr val="bg1"/>
                  </a:solidFill>
                </a:rPr>
                <a:t>Cancer du col de l’utérus</a:t>
              </a:r>
              <a:endParaRPr lang="fr-FR" sz="20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80318" y="1065960"/>
              <a:ext cx="2418997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4000" b="1" dirty="0"/>
                <a:t>Dépistage</a:t>
              </a:r>
              <a:r>
                <a:rPr lang="fr-FR" sz="4400" b="1" dirty="0"/>
                <a:t> </a:t>
              </a:r>
              <a:endParaRPr lang="fr-FR" sz="1600" b="1" i="1" dirty="0"/>
            </a:p>
          </p:txBody>
        </p:sp>
      </p:grpSp>
      <p:pic>
        <p:nvPicPr>
          <p:cNvPr id="12" name="Image 11" descr="C:\Users\Toshiba\Desktop\RA OCTOBRE ROSE\photo tamba koumpentoum\depistage koumpentoum\IMG_3167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70304" y="2020752"/>
            <a:ext cx="3219613" cy="2223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Image 12" descr="C:\Users\Toshiba\Desktop\RA OCTOBRE ROSE\photo tamba koumpentoum\depistage tamba\IMG_3777.JPG"/>
          <p:cNvPicPr/>
          <p:nvPr/>
        </p:nvPicPr>
        <p:blipFill>
          <a:blip r:embed="rId6" cstate="print"/>
          <a:srcRect r="29416"/>
          <a:stretch>
            <a:fillRect/>
          </a:stretch>
        </p:blipFill>
        <p:spPr bwMode="auto">
          <a:xfrm>
            <a:off x="5812731" y="4299813"/>
            <a:ext cx="3219613" cy="2373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Image 13" descr="IMG_0609.JPG"/>
          <p:cNvPicPr>
            <a:picLocks noChangeAspect="1"/>
          </p:cNvPicPr>
          <p:nvPr/>
        </p:nvPicPr>
        <p:blipFill>
          <a:blip r:embed="rId7" cstate="print"/>
          <a:srcRect t="-1961" r="30909"/>
          <a:stretch>
            <a:fillRect/>
          </a:stretch>
        </p:blipFill>
        <p:spPr>
          <a:xfrm>
            <a:off x="9128950" y="1887099"/>
            <a:ext cx="2647223" cy="4825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13870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2F97CC-0426-D76A-3647-FCFA18EF2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63A15FC-6C94-FD2F-247F-7C197FA7B6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2FF3689C-E08E-4195-D73D-BDB6CCDD1F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128247" cy="3096185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82254ED-388E-ED75-D61E-714494F6A8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8247" y="0"/>
            <a:ext cx="4128247" cy="3096185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F675034-CD57-DA2A-8696-6568C40FED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6494" y="1538290"/>
            <a:ext cx="3861197" cy="514826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D0612337-FF5A-51F4-F2F0-1CE44DF45B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09" y="3761816"/>
            <a:ext cx="3899648" cy="2924736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005C462-0414-1656-63B7-FFA4A02421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834" y="3801969"/>
            <a:ext cx="4128247" cy="3096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16023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283656-2E6F-3F0A-971B-4DCFC2681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C30248B-DF42-DC07-76EB-211A03F905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2C9C00F-F596-D337-B8C2-C521B88114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80329" cy="2979027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FAE4483C-4296-D1E7-B2EB-663D27A184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0329" y="0"/>
            <a:ext cx="3980328" cy="2979027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F23E9A05-84CF-9416-67A8-1620F78A25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5128" y="0"/>
            <a:ext cx="3980328" cy="2979027"/>
          </a:xfrm>
          <a:prstGeom prst="rect">
            <a:avLst/>
          </a:prstGeom>
        </p:spPr>
      </p:pic>
      <p:pic>
        <p:nvPicPr>
          <p:cNvPr id="8" name="VIDEO-2022-10-18-11-13-27">
            <a:hlinkClick r:id="" action="ppaction://media"/>
            <a:extLst>
              <a:ext uri="{FF2B5EF4-FFF2-40B4-BE49-F238E27FC236}">
                <a16:creationId xmlns:a16="http://schemas.microsoft.com/office/drawing/2014/main" id="{E3117F5A-2B81-430A-6899-23D8F9EA399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03843" y="3037397"/>
            <a:ext cx="6686921" cy="3785049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ACCCCC44-7595-D617-F68B-6D47643F7A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3775" y="3068551"/>
            <a:ext cx="4906980" cy="3680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540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066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7668" y="2824856"/>
            <a:ext cx="7485681" cy="144655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8800" b="1" dirty="0">
                <a:solidFill>
                  <a:schemeClr val="bg1"/>
                </a:solidFill>
              </a:rPr>
              <a:t>FORMATION</a:t>
            </a:r>
            <a:endParaRPr lang="fr-FR" sz="40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56492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ZoneTexte 15"/>
          <p:cNvSpPr txBox="1"/>
          <p:nvPr/>
        </p:nvSpPr>
        <p:spPr>
          <a:xfrm>
            <a:off x="465507" y="4057233"/>
            <a:ext cx="4974013" cy="2800767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fr-FR" sz="800" b="1" dirty="0">
              <a:solidFill>
                <a:srgbClr val="0070C0"/>
              </a:solidFill>
            </a:endParaRPr>
          </a:p>
          <a:p>
            <a:pPr algn="ctr"/>
            <a:r>
              <a:rPr lang="fr-FR" sz="2400" b="1" dirty="0">
                <a:solidFill>
                  <a:srgbClr val="0070C0"/>
                </a:solidFill>
              </a:rPr>
              <a:t>45 </a:t>
            </a:r>
            <a:r>
              <a:rPr lang="fr-FR" sz="2400" b="1" dirty="0"/>
              <a:t>Districts sanitaires </a:t>
            </a:r>
          </a:p>
          <a:p>
            <a:pPr algn="ctr"/>
            <a:endParaRPr lang="fr-FR" sz="2400" b="1" dirty="0">
              <a:solidFill>
                <a:srgbClr val="0070C0"/>
              </a:solidFill>
            </a:endParaRPr>
          </a:p>
          <a:p>
            <a:pPr algn="ctr"/>
            <a:r>
              <a:rPr lang="fr-FR" sz="2400" b="1" dirty="0">
                <a:solidFill>
                  <a:srgbClr val="0070C0"/>
                </a:solidFill>
              </a:rPr>
              <a:t>2069 </a:t>
            </a:r>
            <a:r>
              <a:rPr lang="fr-FR" sz="2000" b="1" dirty="0"/>
              <a:t>sages-femmes formées</a:t>
            </a:r>
          </a:p>
          <a:p>
            <a:pPr algn="ctr"/>
            <a:endParaRPr lang="fr-FR" sz="2000" b="1" dirty="0"/>
          </a:p>
          <a:p>
            <a:pPr algn="ctr">
              <a:buFont typeface="Arial" pitchFamily="34" charset="0"/>
              <a:buChar char="•"/>
            </a:pPr>
            <a:r>
              <a:rPr lang="fr-FR" sz="2000" dirty="0">
                <a:solidFill>
                  <a:srgbClr val="FF0000"/>
                </a:solidFill>
              </a:rPr>
              <a:t> IVA --IVL</a:t>
            </a:r>
          </a:p>
          <a:p>
            <a:pPr algn="ctr">
              <a:buFont typeface="Arial" pitchFamily="34" charset="0"/>
              <a:buChar char="•"/>
            </a:pPr>
            <a:r>
              <a:rPr lang="fr-FR" sz="2000" dirty="0">
                <a:solidFill>
                  <a:srgbClr val="FF0000"/>
                </a:solidFill>
              </a:rPr>
              <a:t> CRYOTHÉRAPIE</a:t>
            </a:r>
          </a:p>
          <a:p>
            <a:pPr algn="ctr">
              <a:buFont typeface="Arial" pitchFamily="34" charset="0"/>
              <a:buChar char="•"/>
            </a:pPr>
            <a:r>
              <a:rPr lang="fr-FR" sz="2000" dirty="0">
                <a:solidFill>
                  <a:srgbClr val="FF0000"/>
                </a:solidFill>
              </a:rPr>
              <a:t>THERMOABLATION</a:t>
            </a:r>
          </a:p>
          <a:p>
            <a:pPr algn="ctr">
              <a:buFont typeface="Arial" pitchFamily="34" charset="0"/>
              <a:buChar char="•"/>
            </a:pPr>
            <a:endParaRPr lang="fr-FR" sz="800" dirty="0">
              <a:solidFill>
                <a:srgbClr val="FF0000"/>
              </a:solidFill>
            </a:endParaRPr>
          </a:p>
          <a:p>
            <a:pPr algn="ctr">
              <a:buFont typeface="Arial" pitchFamily="34" charset="0"/>
              <a:buChar char="•"/>
            </a:pPr>
            <a:endParaRPr lang="fr-FR" sz="800" dirty="0">
              <a:solidFill>
                <a:srgbClr val="FF0000"/>
              </a:solidFill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6283036" y="1693479"/>
            <a:ext cx="3475310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Projet cancer du </a:t>
            </a:r>
            <a:r>
              <a:rPr lang="fr-FR" sz="2000" dirty="0">
                <a:solidFill>
                  <a:schemeClr val="bg1"/>
                </a:solidFill>
              </a:rPr>
              <a:t>Col de l’</a:t>
            </a:r>
            <a:r>
              <a:rPr lang="fr-FR" sz="2000" dirty="0" err="1">
                <a:solidFill>
                  <a:schemeClr val="bg1"/>
                </a:solidFill>
              </a:rPr>
              <a:t>uterus</a:t>
            </a:r>
            <a:endParaRPr lang="fr-FR" sz="2000" i="1" dirty="0">
              <a:solidFill>
                <a:schemeClr val="bg1"/>
              </a:solidFill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376659" y="1486670"/>
            <a:ext cx="23433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Formation</a:t>
            </a:r>
            <a:endParaRPr lang="fr-FR" sz="1400" i="1" dirty="0"/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0" y="2687427"/>
            <a:ext cx="6163294" cy="102188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400" b="1" u="sng" dirty="0">
                <a:latin typeface="Arial" charset="0"/>
              </a:rPr>
              <a:t>Formation des sages femmes à la </a:t>
            </a:r>
            <a:r>
              <a:rPr lang="fr-FR" altLang="fr-FR" sz="1400" b="1" u="sng" dirty="0">
                <a:latin typeface="Arial" charset="0"/>
              </a:rPr>
              <a:t>D</a:t>
            </a:r>
            <a:r>
              <a:rPr kumimoji="0" lang="fr-FR" altLang="fr-FR" sz="1400" b="1" i="0" u="sng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étection des lésions précancéreuses du col de l’utérus par la méthode </a:t>
            </a:r>
            <a:r>
              <a:rPr kumimoji="0" lang="fr-FR" altLang="fr-FR" sz="1400" b="1" i="0" u="sng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el’inspection</a:t>
            </a:r>
            <a:r>
              <a:rPr kumimoji="0" lang="fr-FR" altLang="fr-FR" sz="1400" b="1" i="0" u="sng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visuelle  IVA-IVL  et traitement par la cryothérapie/ thermoablation</a:t>
            </a:r>
            <a:endParaRPr kumimoji="0" lang="fr-FR" alt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4057674-305E-A147-9E10-A202CF8591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3036" y="2272000"/>
            <a:ext cx="5854700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76930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281" y="2430282"/>
            <a:ext cx="5230481" cy="3741810"/>
          </a:xfrm>
          <a:prstGeom prst="rect">
            <a:avLst/>
          </a:prstGeom>
        </p:spPr>
      </p:pic>
      <p:grpSp>
        <p:nvGrpSpPr>
          <p:cNvPr id="2" name="Grouper 1"/>
          <p:cNvGrpSpPr/>
          <p:nvPr/>
        </p:nvGrpSpPr>
        <p:grpSpPr>
          <a:xfrm>
            <a:off x="376659" y="1446893"/>
            <a:ext cx="8805660" cy="707886"/>
            <a:chOff x="376659" y="1446893"/>
            <a:chExt cx="8805660" cy="707886"/>
          </a:xfrm>
        </p:grpSpPr>
        <p:cxnSp>
          <p:nvCxnSpPr>
            <p:cNvPr id="9" name="Connecteur droit 8"/>
            <p:cNvCxnSpPr/>
            <p:nvPr/>
          </p:nvCxnSpPr>
          <p:spPr>
            <a:xfrm>
              <a:off x="404205" y="2031528"/>
              <a:ext cx="6574348" cy="397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ZoneTexte 15"/>
            <p:cNvSpPr txBox="1"/>
            <p:nvPr/>
          </p:nvSpPr>
          <p:spPr>
            <a:xfrm>
              <a:off x="376659" y="1446893"/>
              <a:ext cx="2343398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4000" dirty="0"/>
                <a:t>Formation</a:t>
              </a:r>
              <a:endParaRPr lang="fr-FR" sz="1400" i="1" dirty="0"/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6378282" y="1633172"/>
              <a:ext cx="2804037" cy="400110"/>
            </a:xfrm>
            <a:prstGeom prst="rect">
              <a:avLst/>
            </a:prstGeom>
            <a:solidFill>
              <a:srgbClr val="002060"/>
            </a:solidFill>
            <a:ln w="57150">
              <a:solidFill>
                <a:schemeClr val="accent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fr-FR" sz="2000" b="1" dirty="0">
                  <a:solidFill>
                    <a:schemeClr val="bg1"/>
                  </a:solidFill>
                </a:rPr>
                <a:t>Cancer du </a:t>
              </a:r>
              <a:r>
                <a:rPr lang="fr-FR" sz="2000" dirty="0">
                  <a:solidFill>
                    <a:schemeClr val="bg1"/>
                  </a:solidFill>
                </a:rPr>
                <a:t>Col de l’</a:t>
              </a:r>
              <a:r>
                <a:rPr lang="fr-FR" sz="2000" dirty="0" err="1">
                  <a:solidFill>
                    <a:schemeClr val="bg1"/>
                  </a:solidFill>
                </a:rPr>
                <a:t>uterus</a:t>
              </a:r>
              <a:endParaRPr lang="fr-FR" sz="2000" i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7" name="ZoneTexte 16"/>
          <p:cNvSpPr txBox="1"/>
          <p:nvPr/>
        </p:nvSpPr>
        <p:spPr>
          <a:xfrm>
            <a:off x="5719702" y="6218194"/>
            <a:ext cx="6300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Formation des Sages Femmes du District Sanitaire </a:t>
            </a:r>
          </a:p>
          <a:p>
            <a:pPr algn="ctr"/>
            <a:r>
              <a:rPr lang="fr-FR" dirty="0"/>
              <a:t>KHOMBOLE 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-204866" y="6197071"/>
            <a:ext cx="6300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Formation des Sages Femmes du District Sanitaire </a:t>
            </a:r>
          </a:p>
          <a:p>
            <a:pPr algn="ctr"/>
            <a:r>
              <a:rPr lang="fr-FR" dirty="0"/>
              <a:t>TAMBACOUNDA</a:t>
            </a:r>
          </a:p>
        </p:txBody>
      </p:sp>
      <p:pic>
        <p:nvPicPr>
          <p:cNvPr id="15" name="Image 14" descr="C:\Users\Toshiba\Desktop\RA OCTOBRE ROSE\photo tamba koumpentoum\depistage tamba\IMG_3760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4204" y="2430281"/>
            <a:ext cx="5315497" cy="3741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100775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9D771A67-77FE-CB40-992C-F57696B98D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899" y="1319187"/>
            <a:ext cx="3650521" cy="2737891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67AE6137-85D8-F447-B3B3-8CD11F47A5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4562" y="1319187"/>
            <a:ext cx="3650521" cy="2737891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7FC2B576-C98F-2B47-B939-8DCAB637EC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2" y="4120108"/>
            <a:ext cx="3650523" cy="273789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42BC5D4D-A50B-A84D-92C6-32DBDCEF5D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8669" y="1303456"/>
            <a:ext cx="4130432" cy="5507243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3BC3B96-0155-6942-A323-CA528597341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4562" y="4120108"/>
            <a:ext cx="3650521" cy="273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1056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537D8D9D-6787-6071-71BA-7AAAE92C6E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246" y="1240027"/>
            <a:ext cx="9987507" cy="5617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2199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D33498B-AE31-358C-6F90-EBED7E144B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4546" y="3334486"/>
            <a:ext cx="4792690" cy="3523514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0C03F94B-4E50-F3B5-8D59-580969C3AC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1" y="1319187"/>
            <a:ext cx="5494420" cy="274721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7E53100-DD29-1A42-81CA-2B8D50E117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1110" y="1319187"/>
            <a:ext cx="5802687" cy="2747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39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71432" y="164129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7398072" y="6313378"/>
            <a:ext cx="1846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sz="1400" b="1" dirty="0">
              <a:solidFill>
                <a:schemeClr val="tx1"/>
              </a:solidFill>
            </a:endParaRPr>
          </a:p>
          <a:p>
            <a:endParaRPr lang="fr-FR" sz="1400" dirty="0"/>
          </a:p>
        </p:txBody>
      </p:sp>
      <p:graphicFrame>
        <p:nvGraphicFramePr>
          <p:cNvPr id="2" name="Graphique 1">
            <a:extLst>
              <a:ext uri="{FF2B5EF4-FFF2-40B4-BE49-F238E27FC236}">
                <a16:creationId xmlns:a16="http://schemas.microsoft.com/office/drawing/2014/main" id="{6FE37B5D-6C23-4E97-D5A1-C7C9B41BA0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682685"/>
              </p:ext>
            </p:extLst>
          </p:nvPr>
        </p:nvGraphicFramePr>
        <p:xfrm>
          <a:off x="133576" y="2228433"/>
          <a:ext cx="5692336" cy="3949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" name="Graphique 2">
            <a:extLst>
              <a:ext uri="{FF2B5EF4-FFF2-40B4-BE49-F238E27FC236}">
                <a16:creationId xmlns:a16="http://schemas.microsoft.com/office/drawing/2014/main" id="{C735538D-CF63-DFC1-588E-459633ADA6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5904866"/>
              </p:ext>
            </p:extLst>
          </p:nvPr>
        </p:nvGraphicFramePr>
        <p:xfrm>
          <a:off x="6130509" y="2275001"/>
          <a:ext cx="5692336" cy="38512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1157176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                                                           </a:t>
            </a:r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B155B76-FD8D-8845-A777-8C1FEA8E0720}"/>
              </a:ext>
            </a:extLst>
          </p:cNvPr>
          <p:cNvSpPr txBox="1"/>
          <p:nvPr/>
        </p:nvSpPr>
        <p:spPr>
          <a:xfrm>
            <a:off x="779489" y="599606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C2B9F34-EE25-F949-9560-FE1ACD4DE117}"/>
              </a:ext>
            </a:extLst>
          </p:cNvPr>
          <p:cNvSpPr txBox="1"/>
          <p:nvPr/>
        </p:nvSpPr>
        <p:spPr>
          <a:xfrm>
            <a:off x="440527" y="1209216"/>
            <a:ext cx="2083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PODOR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1FFD7C4-2B24-E241-B718-A18B584D38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0780"/>
            <a:ext cx="3350389" cy="251279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854659C8-470C-3C1F-D638-DA909A8561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1102" y="1540780"/>
            <a:ext cx="3526970" cy="2645228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A175456E-1199-B382-16E9-87AE85D42926}"/>
              </a:ext>
            </a:extLst>
          </p:cNvPr>
          <p:cNvSpPr txBox="1"/>
          <p:nvPr/>
        </p:nvSpPr>
        <p:spPr>
          <a:xfrm>
            <a:off x="4631926" y="1198695"/>
            <a:ext cx="2083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DAGANA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57580F3-E396-F650-1F3B-BB8CFCE5E1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2" y="4409788"/>
            <a:ext cx="3206187" cy="2404640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E4DB08D5-35E0-E413-59F6-CAB363344396}"/>
              </a:ext>
            </a:extLst>
          </p:cNvPr>
          <p:cNvSpPr txBox="1"/>
          <p:nvPr/>
        </p:nvSpPr>
        <p:spPr>
          <a:xfrm>
            <a:off x="505932" y="4011620"/>
            <a:ext cx="2083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LOUGA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F694B4C-AA65-6AEE-45AD-DE09F17895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1102" y="4215377"/>
            <a:ext cx="3526970" cy="2645228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9322F6D1-55A9-EE55-8E43-3C550F70E3D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0403" y="1272859"/>
            <a:ext cx="4171070" cy="5561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76186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DBAA2535-B7C0-42BC-EAE9-8F40199C8B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631" y="1251108"/>
            <a:ext cx="4150088" cy="3104226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A742DC0A-430C-9FA7-C1EE-372D6D683DE5}"/>
              </a:ext>
            </a:extLst>
          </p:cNvPr>
          <p:cNvSpPr txBox="1"/>
          <p:nvPr/>
        </p:nvSpPr>
        <p:spPr>
          <a:xfrm>
            <a:off x="8149389" y="407616"/>
            <a:ext cx="37538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/>
              <a:t>FORMATION DES BAJENOUS-GOX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A23E035-EE45-972D-1E8F-5ABB36594C7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81"/>
          <a:stretch/>
        </p:blipFill>
        <p:spPr bwMode="auto">
          <a:xfrm>
            <a:off x="84994" y="4282391"/>
            <a:ext cx="4150088" cy="244098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8EB57D98-BF3D-CC61-7521-AB54AAF855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477" y="1232923"/>
            <a:ext cx="6015823" cy="3271197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3C4D806-D570-83A5-1E80-4F5A020F4F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1280" y="4373518"/>
            <a:ext cx="3335640" cy="2371874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DEC25549-AD10-FA02-40C4-8EC80F3ADD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3211" y="4397311"/>
            <a:ext cx="3463795" cy="2348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58222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7C8319D-1071-E0B9-3614-4E4F1180D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8651D23-C977-3465-49BE-AD1CD79838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688"/>
            <a:ext cx="12187225" cy="6860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42325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A742DC0A-430C-9FA7-C1EE-372D6D683DE5}"/>
              </a:ext>
            </a:extLst>
          </p:cNvPr>
          <p:cNvSpPr txBox="1"/>
          <p:nvPr/>
        </p:nvSpPr>
        <p:spPr>
          <a:xfrm>
            <a:off x="144202" y="2183154"/>
            <a:ext cx="42291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/>
              <a:t>FORMATION DES FORMATEURS</a:t>
            </a:r>
          </a:p>
          <a:p>
            <a:pPr algn="ctr"/>
            <a:r>
              <a:rPr lang="fr-FR" sz="2400" dirty="0"/>
              <a:t>GYNECOLOGUES 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5A4676FF-4A50-AC43-AE71-FC290C8E6E70}"/>
              </a:ext>
            </a:extLst>
          </p:cNvPr>
          <p:cNvSpPr txBox="1"/>
          <p:nvPr/>
        </p:nvSpPr>
        <p:spPr>
          <a:xfrm>
            <a:off x="1229388" y="3210973"/>
            <a:ext cx="245612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TEST HPV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IV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THERMOAB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COLPOSCOPI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BIOPS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LEEP /CONISATION</a:t>
            </a:r>
          </a:p>
          <a:p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9959BA83-7C62-B75C-76CF-448C724E76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7123" y="1348514"/>
            <a:ext cx="6796288" cy="5097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75010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579052" y="1431287"/>
            <a:ext cx="23433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dirty="0"/>
              <a:t>Formation</a:t>
            </a:r>
            <a:endParaRPr lang="fr-FR" sz="16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693479"/>
            <a:ext cx="2916311" cy="400110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Pharmaciens et assistant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2168926" y="2423876"/>
            <a:ext cx="3441841" cy="40011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fr-FR" sz="2000" b="1" dirty="0">
                <a:solidFill>
                  <a:srgbClr val="0070C0"/>
                </a:solidFill>
              </a:rPr>
              <a:t>~500</a:t>
            </a:r>
            <a:r>
              <a:rPr lang="fr-FR" sz="2000" dirty="0"/>
              <a:t> pharmaciens et assistants</a:t>
            </a:r>
          </a:p>
        </p:txBody>
      </p:sp>
      <p:pic>
        <p:nvPicPr>
          <p:cNvPr id="15" name="Picture 5" descr="C:\Users\Toshiba\Desktop\RA OCTOBRE ROSE\PHARMACIENS\20150930_12242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135" y="4113581"/>
            <a:ext cx="3749135" cy="2276872"/>
          </a:xfrm>
          <a:prstGeom prst="rect">
            <a:avLst/>
          </a:prstGeom>
          <a:noFill/>
        </p:spPr>
      </p:pic>
      <p:pic>
        <p:nvPicPr>
          <p:cNvPr id="17" name="Picture 7" descr="C:\Users\Toshiba\Desktop\RA OCTOBRE ROSE\PHARMACIENS\20150916_10213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92886" y="4031574"/>
            <a:ext cx="3550722" cy="2440885"/>
          </a:xfrm>
          <a:prstGeom prst="rect">
            <a:avLst/>
          </a:prstGeom>
          <a:noFill/>
        </p:spPr>
      </p:pic>
      <p:pic>
        <p:nvPicPr>
          <p:cNvPr id="22" name="Picture 3" descr="C:\Users\Toshiba\Desktop\RA OCTOBRE ROSE\PHARMACIENS\20150916_103045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18022" y="2564713"/>
            <a:ext cx="4002546" cy="2643517"/>
          </a:xfrm>
          <a:prstGeom prst="rect">
            <a:avLst/>
          </a:prstGeom>
          <a:noFill/>
        </p:spPr>
      </p:pic>
      <p:sp>
        <p:nvSpPr>
          <p:cNvPr id="2" name="ZoneTexte 1"/>
          <p:cNvSpPr txBox="1"/>
          <p:nvPr/>
        </p:nvSpPr>
        <p:spPr>
          <a:xfrm>
            <a:off x="2168926" y="2942241"/>
            <a:ext cx="65743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/>
              <a:t>CLUB DES ACTIONNAIRES DE DUOPHA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/>
              <a:t>ORDRE DES PHARMACIE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0" i="0" dirty="0">
                <a:solidFill>
                  <a:srgbClr val="3C3C37"/>
                </a:solidFill>
                <a:effectLst/>
                <a:latin typeface="Roboto Condensed" panose="020F0502020204030204" pitchFamily="34" charset="0"/>
              </a:rPr>
              <a:t>SYNDICAT DES PHARMACIENS PRIVÉS DU SÉNÉGAL</a:t>
            </a: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200136172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126411" y="2302342"/>
            <a:ext cx="8480629" cy="2800767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8800" b="1" dirty="0">
                <a:solidFill>
                  <a:schemeClr val="bg1"/>
                </a:solidFill>
              </a:rPr>
              <a:t>INFORMATION </a:t>
            </a:r>
          </a:p>
          <a:p>
            <a:pPr algn="ctr"/>
            <a:r>
              <a:rPr lang="fr-FR" sz="8800" b="1" dirty="0">
                <a:solidFill>
                  <a:schemeClr val="bg1"/>
                </a:solidFill>
              </a:rPr>
              <a:t>SENSIBILISATION </a:t>
            </a:r>
            <a:endParaRPr lang="fr-FR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66373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C11CBC-00BC-463B-BC2C-66FE79094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C11CBC-00BC-463B-BC2C-66FE79094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5B52E8A-1507-4EDE-A6D0-D681B7B96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366990"/>
            <a:ext cx="11150600" cy="715962"/>
          </a:xfrm>
        </p:spPr>
        <p:txBody>
          <a:bodyPr vert="horz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En lien avec les districts, la LISCA a supporté les efforts de sensibilisation pour le projet pilote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F75CB186-93CE-5A40-8A5D-7ADBAC1B89CE}"/>
              </a:ext>
            </a:extLst>
          </p:cNvPr>
          <p:cNvGrpSpPr/>
          <p:nvPr/>
        </p:nvGrpSpPr>
        <p:grpSpPr>
          <a:xfrm>
            <a:off x="3695700" y="2531325"/>
            <a:ext cx="8308943" cy="3960607"/>
            <a:chOff x="106768" y="1171826"/>
            <a:chExt cx="10884556" cy="558823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CF63E34-E375-4134-ABB4-FE4CFD40768E}"/>
                </a:ext>
              </a:extLst>
            </p:cNvPr>
            <p:cNvSpPr txBox="1"/>
            <p:nvPr/>
          </p:nvSpPr>
          <p:spPr>
            <a:xfrm>
              <a:off x="7546817" y="1718882"/>
              <a:ext cx="3444507" cy="31700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Blip>
                  <a:blip r:embed="rId5"/>
                </a:buBlip>
              </a:pPr>
              <a:r>
                <a:rPr lang="fr-FR" sz="1400" dirty="0"/>
                <a:t>Diffusion de  spots radios RFM et spots radios communautaires</a:t>
              </a:r>
              <a:endParaRPr lang="fr-FR" sz="1400" dirty="0">
                <a:solidFill>
                  <a:srgbClr val="FF0000"/>
                </a:solidFill>
              </a:endParaRPr>
            </a:p>
            <a:p>
              <a:endParaRPr lang="fr-FR" sz="1400" dirty="0"/>
            </a:p>
            <a:p>
              <a:pPr marL="342900" indent="-342900">
                <a:buBlip>
                  <a:blip r:embed="rId5"/>
                </a:buBlip>
              </a:pPr>
              <a:r>
                <a:rPr lang="fr-FR" sz="1400" dirty="0"/>
                <a:t>Réalisation de caravanes de sensibilisation tracts ,affiches banderoles s dans les districts</a:t>
              </a:r>
            </a:p>
            <a:p>
              <a:pPr marL="342900" indent="-342900">
                <a:buBlip>
                  <a:blip r:embed="rId5"/>
                </a:buBlip>
              </a:pPr>
              <a:endParaRPr lang="fr-FR" sz="1400" dirty="0"/>
            </a:p>
            <a:p>
              <a:pPr marL="342900" indent="-342900">
                <a:buBlip>
                  <a:blip r:embed="rId5"/>
                </a:buBlip>
              </a:pPr>
              <a:r>
                <a:rPr lang="fr-FR" sz="1400" dirty="0"/>
                <a:t>formations de </a:t>
              </a:r>
              <a:r>
                <a:rPr lang="fr-FR" sz="1400" dirty="0" err="1"/>
                <a:t>BGs</a:t>
              </a:r>
              <a:r>
                <a:rPr lang="fr-FR" sz="1400" dirty="0"/>
                <a:t>,,causeries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701C673-102C-4A3A-B44A-2B9ACDD903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1652"/>
            <a:stretch/>
          </p:blipFill>
          <p:spPr>
            <a:xfrm>
              <a:off x="106768" y="4048339"/>
              <a:ext cx="4092478" cy="2711721"/>
            </a:xfrm>
            <a:prstGeom prst="rect">
              <a:avLst/>
            </a:prstGeom>
          </p:spPr>
        </p:pic>
        <p:pic>
          <p:nvPicPr>
            <p:cNvPr id="22" name="27FFDB6C-30B7-44E4-84CB-A81F5C5A125E">
              <a:extLst>
                <a:ext uri="{FF2B5EF4-FFF2-40B4-BE49-F238E27FC236}">
                  <a16:creationId xmlns:a16="http://schemas.microsoft.com/office/drawing/2014/main" id="{5B24611F-CAF6-4D5B-A88F-99E5638F2AD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869" t="12037" r="22097" b="44743"/>
            <a:stretch/>
          </p:blipFill>
          <p:spPr bwMode="auto">
            <a:xfrm>
              <a:off x="4366439" y="4048339"/>
              <a:ext cx="3013185" cy="27117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1071839-A355-450B-B41C-12CCA78CF7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3419" b="34811"/>
            <a:stretch/>
          </p:blipFill>
          <p:spPr>
            <a:xfrm>
              <a:off x="4366439" y="1171826"/>
              <a:ext cx="3013185" cy="2711720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6B70AA2A-DBBF-4EAE-A1B5-A741A598AA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11641"/>
            <a:stretch/>
          </p:blipFill>
          <p:spPr>
            <a:xfrm>
              <a:off x="106768" y="1171827"/>
              <a:ext cx="4121447" cy="2711721"/>
            </a:xfrm>
            <a:prstGeom prst="rect">
              <a:avLst/>
            </a:prstGeom>
          </p:spPr>
        </p:pic>
      </p:grpSp>
      <p:sp>
        <p:nvSpPr>
          <p:cNvPr id="4" name="ZoneTexte 3">
            <a:extLst>
              <a:ext uri="{FF2B5EF4-FFF2-40B4-BE49-F238E27FC236}">
                <a16:creationId xmlns:a16="http://schemas.microsoft.com/office/drawing/2014/main" id="{C047CF3F-2060-ADE3-1BC9-2E672511A90A}"/>
              </a:ext>
            </a:extLst>
          </p:cNvPr>
          <p:cNvSpPr txBox="1"/>
          <p:nvPr/>
        </p:nvSpPr>
        <p:spPr>
          <a:xfrm>
            <a:off x="1922496" y="117367"/>
            <a:ext cx="732418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dirty="0">
                <a:solidFill>
                  <a:schemeClr val="bg1"/>
                </a:solidFill>
              </a:rPr>
              <a:t>MOBISISATION COMMUNAUTAIR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35F0D85-07EF-E76F-5F76-8D8E3879D6C5}"/>
              </a:ext>
            </a:extLst>
          </p:cNvPr>
          <p:cNvSpPr txBox="1"/>
          <p:nvPr/>
        </p:nvSpPr>
        <p:spPr>
          <a:xfrm>
            <a:off x="0" y="2776866"/>
            <a:ext cx="3568069" cy="25423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dirty="0"/>
              <a:t>Projet CEST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dirty="0"/>
              <a:t>PROJET AVE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dirty="0"/>
              <a:t>PROJET PILOTE MSAS  HPV- CHAI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dirty="0"/>
              <a:t>PROJET de mise à échelle  dépistages IVA / Traitement par thermoablation </a:t>
            </a:r>
          </a:p>
        </p:txBody>
      </p:sp>
    </p:spTree>
    <p:extLst>
      <p:ext uri="{BB962C8B-B14F-4D97-AF65-F5344CB8AC3E}">
        <p14:creationId xmlns:p14="http://schemas.microsoft.com/office/powerpoint/2010/main" val="130753907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C11CBC-00BC-463B-BC2C-66FE79094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C11CBC-00BC-463B-BC2C-66FE79094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>
            <a:extLst>
              <a:ext uri="{FF2B5EF4-FFF2-40B4-BE49-F238E27FC236}">
                <a16:creationId xmlns:a16="http://schemas.microsoft.com/office/drawing/2014/main" id="{F6F014B5-3F80-1939-4D88-515531987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6053A871-7781-1A09-1496-58A859AED24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4" b="35189"/>
          <a:stretch/>
        </p:blipFill>
        <p:spPr bwMode="auto">
          <a:xfrm>
            <a:off x="0" y="1060543"/>
            <a:ext cx="6208395" cy="285432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1E828AC-C391-0461-84BB-52E407C639E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34" b="32789"/>
          <a:stretch/>
        </p:blipFill>
        <p:spPr bwMode="auto">
          <a:xfrm>
            <a:off x="6732831" y="1060543"/>
            <a:ext cx="4159287" cy="278797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5ED97084-32E6-8F64-587B-2615B5B037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03675"/>
            <a:ext cx="5960959" cy="2854325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BA28663D-CE50-723F-6D9B-BE535602620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424"/>
          <a:stretch/>
        </p:blipFill>
        <p:spPr bwMode="auto">
          <a:xfrm>
            <a:off x="6732831" y="3914868"/>
            <a:ext cx="4566658" cy="298015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04116531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C11CBC-00BC-463B-BC2C-66FE79094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C11CBC-00BC-463B-BC2C-66FE79094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>
            <a:extLst>
              <a:ext uri="{FF2B5EF4-FFF2-40B4-BE49-F238E27FC236}">
                <a16:creationId xmlns:a16="http://schemas.microsoft.com/office/drawing/2014/main" id="{F6F014B5-3F80-1939-4D88-515531987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0EE7B833-45DE-CFC0-6752-4C958BBBFD5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19" b="31530"/>
          <a:stretch/>
        </p:blipFill>
        <p:spPr bwMode="auto">
          <a:xfrm>
            <a:off x="1" y="0"/>
            <a:ext cx="5700740" cy="31735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16FAB6A-C670-C6D8-9669-FFA8DC2E6E8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01" b="32089"/>
          <a:stretch/>
        </p:blipFill>
        <p:spPr bwMode="auto">
          <a:xfrm>
            <a:off x="5700741" y="0"/>
            <a:ext cx="6569710" cy="31735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2879C04-1591-2CD5-6CA2-3B433613D4E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819"/>
          <a:stretch/>
        </p:blipFill>
        <p:spPr bwMode="auto">
          <a:xfrm>
            <a:off x="0" y="4007224"/>
            <a:ext cx="3817563" cy="21515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43D3996-584E-EF5B-7449-F2AD6F4BACC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406" y="3684495"/>
            <a:ext cx="3962400" cy="297180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4424C5C-465A-E733-F380-A94003014D66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49" b="48649"/>
          <a:stretch/>
        </p:blipFill>
        <p:spPr bwMode="auto">
          <a:xfrm>
            <a:off x="7845649" y="3794144"/>
            <a:ext cx="4176022" cy="266157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4739577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0" y="1287931"/>
            <a:ext cx="504503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dirty="0"/>
              <a:t>Information et sensibilisation</a:t>
            </a:r>
          </a:p>
          <a:p>
            <a:pPr algn="ctr"/>
            <a:endParaRPr lang="fr-FR" sz="11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144202" y="1839353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096000" y="1271820"/>
            <a:ext cx="819648" cy="506292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>
                <a:solidFill>
                  <a:schemeClr val="bg1"/>
                </a:solidFill>
              </a:rPr>
              <a:t>J.M.C </a:t>
            </a:r>
          </a:p>
        </p:txBody>
      </p:sp>
      <p:pic>
        <p:nvPicPr>
          <p:cNvPr id="15" name="Image 14" descr="C:\Users\Toshiba\Desktop\Downloads\export-2017-01-09-11-52-20-1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08965" y="2624789"/>
            <a:ext cx="4111602" cy="2600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ZoneTexte 1"/>
          <p:cNvSpPr txBox="1"/>
          <p:nvPr/>
        </p:nvSpPr>
        <p:spPr>
          <a:xfrm>
            <a:off x="7696936" y="5225156"/>
            <a:ext cx="47528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u="sng" dirty="0"/>
              <a:t>Audience   avec  </a:t>
            </a:r>
            <a:r>
              <a:rPr lang="fr-FR" b="1" u="sng" dirty="0"/>
              <a:t>Excellence Mr</a:t>
            </a:r>
            <a:r>
              <a:rPr lang="fr-FR" u="sng" dirty="0"/>
              <a:t>. </a:t>
            </a:r>
            <a:r>
              <a:rPr lang="fr-FR" b="1" u="sng" dirty="0" err="1"/>
              <a:t>Macky</a:t>
            </a:r>
            <a:r>
              <a:rPr lang="fr-FR" u="sng" dirty="0"/>
              <a:t> </a:t>
            </a:r>
            <a:r>
              <a:rPr lang="fr-FR" u="sng" dirty="0" err="1"/>
              <a:t>Sall</a:t>
            </a:r>
            <a:r>
              <a:rPr lang="fr-FR" u="sng" dirty="0"/>
              <a:t> Président de la République du ​S​</a:t>
            </a:r>
            <a:r>
              <a:rPr lang="fr-FR" u="sng" dirty="0" err="1"/>
              <a:t>énégal</a:t>
            </a:r>
            <a:r>
              <a:rPr lang="fr-FR" u="sng" dirty="0"/>
              <a:t>​  </a:t>
            </a:r>
          </a:p>
          <a:p>
            <a:pPr algn="ctr"/>
            <a:r>
              <a:rPr lang="fr-FR" u="sng" dirty="0"/>
              <a:t>4 </a:t>
            </a:r>
            <a:r>
              <a:rPr lang="fr-FR" u="sng" dirty="0" err="1"/>
              <a:t>fevrier</a:t>
            </a:r>
            <a:r>
              <a:rPr lang="fr-FR" u="sng" dirty="0"/>
              <a:t> 2016</a:t>
            </a:r>
          </a:p>
        </p:txBody>
      </p:sp>
      <p:pic>
        <p:nvPicPr>
          <p:cNvPr id="16" name="Image 15" descr="D:\Toutes les photos 1\Journée mondiale 04 février 2016 au SNEIPS\DSC_2936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4725" y="4489561"/>
            <a:ext cx="3150989" cy="2001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/>
        </p:nvSpPr>
        <p:spPr>
          <a:xfrm>
            <a:off x="103502" y="6490987"/>
            <a:ext cx="316221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u="sng" dirty="0"/>
              <a:t>Journée Mondiale Contre le Cancer 2016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9342" y="4489561"/>
            <a:ext cx="3038356" cy="2025571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26" y="1953337"/>
            <a:ext cx="3121512" cy="2089607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4167414" y="6550223"/>
            <a:ext cx="316221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u="sng" dirty="0"/>
              <a:t>Journée Mondiale Contre le Cancer 2018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62226" y="4058798"/>
            <a:ext cx="316221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u="sng" dirty="0"/>
              <a:t>Journée Mondiale Contre le Cancer 2016</a:t>
            </a:r>
          </a:p>
        </p:txBody>
      </p:sp>
      <p:pic>
        <p:nvPicPr>
          <p:cNvPr id="21" name="Image 2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9342" y="2055894"/>
            <a:ext cx="3038356" cy="1972037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4167414" y="4027931"/>
            <a:ext cx="316221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u="sng" dirty="0"/>
              <a:t>Journée Mondiale Contre le Cancer 2017</a:t>
            </a:r>
          </a:p>
        </p:txBody>
      </p:sp>
    </p:spTree>
    <p:extLst>
      <p:ext uri="{BB962C8B-B14F-4D97-AF65-F5344CB8AC3E}">
        <p14:creationId xmlns:p14="http://schemas.microsoft.com/office/powerpoint/2010/main" val="9268593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71432" y="164129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7398072" y="6313378"/>
            <a:ext cx="1846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sz="1400" b="1" dirty="0">
              <a:solidFill>
                <a:schemeClr val="tx1"/>
              </a:solidFill>
            </a:endParaRPr>
          </a:p>
          <a:p>
            <a:endParaRPr lang="fr-FR" sz="1400" dirty="0"/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3782D225-7E4F-3303-9961-1F45B67939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6191134"/>
              </p:ext>
            </p:extLst>
          </p:nvPr>
        </p:nvGraphicFramePr>
        <p:xfrm>
          <a:off x="171432" y="2262138"/>
          <a:ext cx="11868168" cy="4429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ZoneTexte 7">
            <a:extLst>
              <a:ext uri="{FF2B5EF4-FFF2-40B4-BE49-F238E27FC236}">
                <a16:creationId xmlns:a16="http://schemas.microsoft.com/office/drawing/2014/main" id="{9409D536-8D6C-A744-B9AE-A7BCF2376EEC}"/>
              </a:ext>
            </a:extLst>
          </p:cNvPr>
          <p:cNvSpPr txBox="1"/>
          <p:nvPr/>
        </p:nvSpPr>
        <p:spPr>
          <a:xfrm>
            <a:off x="171432" y="1613306"/>
            <a:ext cx="62463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/>
              <a:t>RÉPARTITION PAR TRANCHE D’AGES PAR AN</a:t>
            </a:r>
          </a:p>
        </p:txBody>
      </p:sp>
    </p:spTree>
    <p:extLst>
      <p:ext uri="{BB962C8B-B14F-4D97-AF65-F5344CB8AC3E}">
        <p14:creationId xmlns:p14="http://schemas.microsoft.com/office/powerpoint/2010/main" val="53394682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                                                           </a:t>
            </a:r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B155B76-FD8D-8845-A777-8C1FEA8E0720}"/>
              </a:ext>
            </a:extLst>
          </p:cNvPr>
          <p:cNvSpPr txBox="1"/>
          <p:nvPr/>
        </p:nvSpPr>
        <p:spPr>
          <a:xfrm>
            <a:off x="779489" y="599606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dirty="0"/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3161C167-03C9-6743-9773-2426871B28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39" y="3644265"/>
            <a:ext cx="3460397" cy="3079112"/>
          </a:xfrm>
          <a:prstGeom prst="rect">
            <a:avLst/>
          </a:prstGeom>
        </p:spPr>
      </p:pic>
      <p:pic>
        <p:nvPicPr>
          <p:cNvPr id="3" name="Picture 2" descr="Lâimage contient peut-ÃªtreÂ : bus et plein air">
            <a:extLst>
              <a:ext uri="{FF2B5EF4-FFF2-40B4-BE49-F238E27FC236}">
                <a16:creationId xmlns:a16="http://schemas.microsoft.com/office/drawing/2014/main" id="{5319E1F0-C821-B106-2B6A-E4E3FCA207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42" b="24903"/>
          <a:stretch/>
        </p:blipFill>
        <p:spPr bwMode="auto">
          <a:xfrm>
            <a:off x="124694" y="1184564"/>
            <a:ext cx="4087542" cy="2414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0298547-54AA-22E2-F3E2-888D985F5E2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69" r="8038" b="4784"/>
          <a:stretch/>
        </p:blipFill>
        <p:spPr>
          <a:xfrm>
            <a:off x="4862946" y="1242321"/>
            <a:ext cx="3868656" cy="486238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FD65B0FF-20B3-1BA1-1918-47D0F5CF3F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31602" y="2365111"/>
            <a:ext cx="3460397" cy="4613863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65EA3A5A-1AA0-B7EB-2BE3-C99E70414898}"/>
              </a:ext>
            </a:extLst>
          </p:cNvPr>
          <p:cNvSpPr txBox="1"/>
          <p:nvPr/>
        </p:nvSpPr>
        <p:spPr>
          <a:xfrm>
            <a:off x="7631647" y="299894"/>
            <a:ext cx="49377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>
                <a:solidFill>
                  <a:srgbClr val="FF3399"/>
                </a:solidFill>
                <a:latin typeface="Book Antiqua" panose="02040602050305030304" pitchFamily="18" charset="0"/>
              </a:rPr>
              <a:t>OCTOBRE ROSE </a:t>
            </a:r>
          </a:p>
        </p:txBody>
      </p:sp>
    </p:spTree>
    <p:extLst>
      <p:ext uri="{BB962C8B-B14F-4D97-AF65-F5344CB8AC3E}">
        <p14:creationId xmlns:p14="http://schemas.microsoft.com/office/powerpoint/2010/main" val="339605803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pic>
        <p:nvPicPr>
          <p:cNvPr id="9" name="Image 8" descr="C:\Users\Toshiba\Downloads\brochure cancer recto  (3)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4202" y="1319187"/>
            <a:ext cx="4547718" cy="2448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Image 1" descr="Capture.JPG">
            <a:extLst>
              <a:ext uri="{FF2B5EF4-FFF2-40B4-BE49-F238E27FC236}">
                <a16:creationId xmlns:a16="http://schemas.microsoft.com/office/drawing/2014/main" id="{E108ADA6-7A28-D0DD-9820-D802AB60D61F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0" y="4015588"/>
            <a:ext cx="4691921" cy="2707789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0AE1FD5E-1C71-8E72-E8E9-4FC2D5E97F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663" y="3163609"/>
            <a:ext cx="2416168" cy="299839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D25C13B-BD66-1691-97EE-BB92E5C0AB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831" y="1274942"/>
            <a:ext cx="2416169" cy="2581124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7F3C8202-23BF-F1A8-BDBA-3287D7B6B7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62945" y="1319188"/>
            <a:ext cx="2416169" cy="323533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6091931B-9ADF-8562-B4C0-9D95C0FD229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9236" b="33770"/>
          <a:stretch/>
        </p:blipFill>
        <p:spPr>
          <a:xfrm>
            <a:off x="9807978" y="3913980"/>
            <a:ext cx="2351873" cy="2581124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50768F75-8DCF-7F57-A92A-EE6AF893DF83}"/>
              </a:ext>
            </a:extLst>
          </p:cNvPr>
          <p:cNvSpPr txBox="1"/>
          <p:nvPr/>
        </p:nvSpPr>
        <p:spPr>
          <a:xfrm>
            <a:off x="-3747541" y="-196371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500094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D4999DD-6241-7F0F-DA27-87F0DD884BE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744"/>
          <a:stretch/>
        </p:blipFill>
        <p:spPr>
          <a:xfrm>
            <a:off x="6426351" y="1315326"/>
            <a:ext cx="5358009" cy="537627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CBD79A2-2231-90C2-1084-6924A523BDA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17"/>
          <a:stretch/>
        </p:blipFill>
        <p:spPr>
          <a:xfrm>
            <a:off x="241804" y="1319187"/>
            <a:ext cx="5947373" cy="540419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69A00609-B6C2-BCB8-6029-3C83C58241D1}"/>
              </a:ext>
            </a:extLst>
          </p:cNvPr>
          <p:cNvSpPr txBox="1"/>
          <p:nvPr/>
        </p:nvSpPr>
        <p:spPr>
          <a:xfrm>
            <a:off x="8019739" y="418011"/>
            <a:ext cx="41722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/>
              <a:t>ECRANS MAGASINS AUCHAN</a:t>
            </a:r>
          </a:p>
        </p:txBody>
      </p:sp>
    </p:spTree>
    <p:extLst>
      <p:ext uri="{BB962C8B-B14F-4D97-AF65-F5344CB8AC3E}">
        <p14:creationId xmlns:p14="http://schemas.microsoft.com/office/powerpoint/2010/main" val="128044165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144202" y="1431895"/>
            <a:ext cx="3223831" cy="569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dirty="0"/>
              <a:t>Information et sensibilisation</a:t>
            </a:r>
          </a:p>
          <a:p>
            <a:pPr algn="ctr"/>
            <a:endParaRPr lang="fr-FR" sz="11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172676" y="1851212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869325" y="1274847"/>
            <a:ext cx="2521139" cy="553998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>
                <a:solidFill>
                  <a:schemeClr val="bg1"/>
                </a:solidFill>
              </a:rPr>
              <a:t>Ruban Humain Géant </a:t>
            </a: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2" y="2383634"/>
            <a:ext cx="5725123" cy="3802508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0508" y="2383633"/>
            <a:ext cx="5692523" cy="378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232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8358" y="1194600"/>
            <a:ext cx="7999155" cy="5312871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ZoneTexte 13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89483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-144202" y="2547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ZoneTexte 13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F809375D-A34E-EAA3-A89B-39C7B34233A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514"/>
          <a:stretch/>
        </p:blipFill>
        <p:spPr>
          <a:xfrm>
            <a:off x="144202" y="1274637"/>
            <a:ext cx="4235293" cy="5557893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CF46237B-C63C-7D1F-F7F5-45ADD9E7DE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9916" y="1274637"/>
            <a:ext cx="4283243" cy="285549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4838694-64E3-C291-D40C-7866CFD3F7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8757" y="3452353"/>
            <a:ext cx="4283243" cy="2855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42958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ZoneTexte 13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02CFD411-3E3B-FD72-BDC4-CAC0581CE88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" y="1184564"/>
            <a:ext cx="4718744" cy="3134091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B06E93C4-2B31-B63C-E526-F3581D081E8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69"/>
          <a:stretch/>
        </p:blipFill>
        <p:spPr>
          <a:xfrm>
            <a:off x="3097004" y="3856208"/>
            <a:ext cx="5454316" cy="29384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006C96A0-01DB-CEA0-7972-578D49F3A6E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20070"/>
          <a:stretch/>
        </p:blipFill>
        <p:spPr>
          <a:xfrm>
            <a:off x="6977437" y="1163798"/>
            <a:ext cx="5262689" cy="315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88660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429997" y="1561564"/>
            <a:ext cx="504503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dirty="0"/>
              <a:t>Information et sensibilisation</a:t>
            </a:r>
          </a:p>
          <a:p>
            <a:pPr algn="ctr"/>
            <a:endParaRPr lang="fr-FR" sz="11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586604"/>
            <a:ext cx="1271245" cy="506292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>
                <a:solidFill>
                  <a:schemeClr val="bg1"/>
                </a:solidFill>
              </a:rPr>
              <a:t>Caravanes</a:t>
            </a:r>
          </a:p>
        </p:txBody>
      </p:sp>
      <p:pic>
        <p:nvPicPr>
          <p:cNvPr id="21" name="Image 20" descr="D:\SAVE\Toutes les photos 1\PHOTOS LISCA\photos caravane jmc 2016\DSC_0544.JPG"/>
          <p:cNvPicPr/>
          <p:nvPr/>
        </p:nvPicPr>
        <p:blipFill>
          <a:blip r:embed="rId4" cstate="print"/>
          <a:stretch>
            <a:fillRect/>
          </a:stretch>
        </p:blipFill>
        <p:spPr bwMode="auto">
          <a:xfrm>
            <a:off x="256497" y="2750736"/>
            <a:ext cx="5218534" cy="3548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pic>
        <p:nvPicPr>
          <p:cNvPr id="22" name="Image 21" descr="D:\SAVE\JMC\JMC 2016\caravane jmc 2016 lisca\DSC01083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10395" y="2750735"/>
            <a:ext cx="5864510" cy="3548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6720548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429997" y="1561564"/>
            <a:ext cx="504503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dirty="0"/>
              <a:t>Information et sensibilisation</a:t>
            </a:r>
          </a:p>
          <a:p>
            <a:pPr algn="ctr"/>
            <a:endParaRPr lang="fr-FR" sz="11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586604"/>
            <a:ext cx="1271245" cy="506292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>
                <a:solidFill>
                  <a:schemeClr val="bg1"/>
                </a:solidFill>
              </a:rPr>
              <a:t>Caravanes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-527236" y="4270590"/>
            <a:ext cx="38181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/>
              <a:t>Marché central aux poissons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2" y="4749498"/>
            <a:ext cx="2475274" cy="1856456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2" y="2331005"/>
            <a:ext cx="2475274" cy="1856455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90913" y="2368474"/>
            <a:ext cx="2733818" cy="1818986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6094" y="4749498"/>
            <a:ext cx="2808637" cy="1872425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5349" y="2381948"/>
            <a:ext cx="5795219" cy="4346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5342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429997" y="1561564"/>
            <a:ext cx="504503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dirty="0"/>
              <a:t>Information et sensibilisation</a:t>
            </a:r>
          </a:p>
          <a:p>
            <a:pPr algn="ctr"/>
            <a:endParaRPr lang="fr-FR" sz="11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168247" y="1586604"/>
            <a:ext cx="1499898" cy="506292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 err="1">
                <a:solidFill>
                  <a:schemeClr val="bg1"/>
                </a:solidFill>
              </a:rPr>
              <a:t>School</a:t>
            </a:r>
            <a:r>
              <a:rPr lang="fr-FR" sz="2000" b="1" dirty="0">
                <a:solidFill>
                  <a:schemeClr val="bg1"/>
                </a:solidFill>
              </a:rPr>
              <a:t> tours</a:t>
            </a:r>
          </a:p>
        </p:txBody>
      </p:sp>
      <p:pic>
        <p:nvPicPr>
          <p:cNvPr id="16" name="Image 15" descr="20151209_160817.jpg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47514" y="2333351"/>
            <a:ext cx="4284507" cy="3135086"/>
          </a:xfrm>
          <a:prstGeom prst="rect">
            <a:avLst/>
          </a:prstGeom>
        </p:spPr>
      </p:pic>
      <p:pic>
        <p:nvPicPr>
          <p:cNvPr id="17" name="Espace réservé du contenu 9" descr="D:\SAVE\JMC\JMC 2016\caravane jmc 2016 lisca\DSC01050.JPG"/>
          <p:cNvPicPr>
            <a:picLocks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6056415" y="2387902"/>
            <a:ext cx="5676406" cy="2981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ZoneTexte 1"/>
          <p:cNvSpPr txBox="1"/>
          <p:nvPr/>
        </p:nvSpPr>
        <p:spPr>
          <a:xfrm>
            <a:off x="756601" y="5451635"/>
            <a:ext cx="45754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/>
              <a:t>Docteur Doudou Diouf chimiothérapeute</a:t>
            </a:r>
          </a:p>
          <a:p>
            <a:pPr algn="ctr"/>
            <a:r>
              <a:rPr lang="fr-FR" dirty="0"/>
              <a:t>à la Maison d'Education </a:t>
            </a:r>
            <a:r>
              <a:rPr lang="fr-FR" b="1" dirty="0" err="1"/>
              <a:t>Mariama</a:t>
            </a:r>
            <a:r>
              <a:rPr lang="fr-FR" b="1" dirty="0"/>
              <a:t> BA</a:t>
            </a:r>
            <a:r>
              <a:rPr lang="fr-FR" dirty="0"/>
              <a:t> de Gorée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8082191" y="5369150"/>
            <a:ext cx="20905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/>
              <a:t>Lycée Lamine Gueye</a:t>
            </a:r>
          </a:p>
        </p:txBody>
      </p:sp>
    </p:spTree>
    <p:extLst>
      <p:ext uri="{BB962C8B-B14F-4D97-AF65-F5344CB8AC3E}">
        <p14:creationId xmlns:p14="http://schemas.microsoft.com/office/powerpoint/2010/main" val="26413557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71432" y="164129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7398072" y="6313378"/>
            <a:ext cx="1846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sz="1400" b="1" dirty="0">
              <a:solidFill>
                <a:schemeClr val="tx1"/>
              </a:solidFill>
            </a:endParaRPr>
          </a:p>
          <a:p>
            <a:endParaRPr lang="fr-FR" sz="1400" dirty="0"/>
          </a:p>
        </p:txBody>
      </p:sp>
      <p:graphicFrame>
        <p:nvGraphicFramePr>
          <p:cNvPr id="3" name="Graphique 2">
            <a:extLst>
              <a:ext uri="{FF2B5EF4-FFF2-40B4-BE49-F238E27FC236}">
                <a16:creationId xmlns:a16="http://schemas.microsoft.com/office/drawing/2014/main" id="{BDBF2925-F769-83A5-61FA-FF86D708E3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7309758"/>
              </p:ext>
            </p:extLst>
          </p:nvPr>
        </p:nvGraphicFramePr>
        <p:xfrm>
          <a:off x="3640667" y="1659467"/>
          <a:ext cx="8551333" cy="5177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ZoneTexte 7">
            <a:extLst>
              <a:ext uri="{FF2B5EF4-FFF2-40B4-BE49-F238E27FC236}">
                <a16:creationId xmlns:a16="http://schemas.microsoft.com/office/drawing/2014/main" id="{A6FEB3F7-CAF2-9A83-F14F-B14898122FBC}"/>
              </a:ext>
            </a:extLst>
          </p:cNvPr>
          <p:cNvSpPr txBox="1"/>
          <p:nvPr/>
        </p:nvSpPr>
        <p:spPr>
          <a:xfrm>
            <a:off x="372533" y="2400219"/>
            <a:ext cx="240453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/>
              <a:t>Montants prises en charges par an</a:t>
            </a:r>
          </a:p>
        </p:txBody>
      </p:sp>
    </p:spTree>
    <p:extLst>
      <p:ext uri="{BB962C8B-B14F-4D97-AF65-F5344CB8AC3E}">
        <p14:creationId xmlns:p14="http://schemas.microsoft.com/office/powerpoint/2010/main" val="1239923805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0" y="1287931"/>
            <a:ext cx="504503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dirty="0"/>
              <a:t>Information et sensibilisation</a:t>
            </a:r>
          </a:p>
          <a:p>
            <a:pPr algn="ctr"/>
            <a:endParaRPr lang="fr-FR" sz="1100" i="1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144202" y="1839353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096000" y="1332657"/>
            <a:ext cx="1745478" cy="506292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>
                <a:solidFill>
                  <a:schemeClr val="bg1"/>
                </a:solidFill>
              </a:rPr>
              <a:t>LA DAKAROISE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2" y="4412341"/>
            <a:ext cx="3106057" cy="2329543"/>
          </a:xfrm>
          <a:prstGeom prst="rect">
            <a:avLst/>
          </a:prstGeom>
        </p:spPr>
      </p:pic>
      <p:pic>
        <p:nvPicPr>
          <p:cNvPr id="4098" name="Picture 2" descr="RÃ©sultat de recherche d'images pour &quot;MARATHON LA DAKAROISE&quot;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211" y="1680931"/>
            <a:ext cx="3244111" cy="243308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Lâimage contient peut-ÃªtreÂ : 1 personne, marche, debout, foule, arbre et plein air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202" y="2057372"/>
            <a:ext cx="3106057" cy="232954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762" y="2807378"/>
            <a:ext cx="4562475" cy="3209925"/>
          </a:xfrm>
          <a:prstGeom prst="rect">
            <a:avLst/>
          </a:prstGeom>
        </p:spPr>
      </p:pic>
      <p:pic>
        <p:nvPicPr>
          <p:cNvPr id="4104" name="Picture 8" descr="Lâimage contient peut-ÃªtreÂ : 2 personnes, personnes debout, foule et plein air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7743" y="4267201"/>
            <a:ext cx="3299579" cy="247468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3860530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7668" y="2824856"/>
            <a:ext cx="7485681" cy="1938992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fr-FR" sz="4000" b="1" dirty="0">
              <a:solidFill>
                <a:schemeClr val="bg1"/>
              </a:solidFill>
            </a:endParaRPr>
          </a:p>
          <a:p>
            <a:pPr algn="ctr"/>
            <a:r>
              <a:rPr lang="fr-FR" sz="4000" b="1" dirty="0" err="1">
                <a:solidFill>
                  <a:schemeClr val="bg1"/>
                </a:solidFill>
              </a:rPr>
              <a:t>Fundraising</a:t>
            </a:r>
            <a:endParaRPr lang="fr-FR" sz="4000" b="1" dirty="0">
              <a:solidFill>
                <a:schemeClr val="bg1"/>
              </a:solidFill>
            </a:endParaRPr>
          </a:p>
          <a:p>
            <a:pPr algn="ctr"/>
            <a:endParaRPr lang="fr-FR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215168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3" b="18069"/>
          <a:stretch/>
        </p:blipFill>
        <p:spPr>
          <a:xfrm>
            <a:off x="10172700" y="137414"/>
            <a:ext cx="1847868" cy="893964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577209" y="1561564"/>
            <a:ext cx="21142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dirty="0" err="1"/>
              <a:t>Fundraising</a:t>
            </a:r>
            <a:endParaRPr lang="fr-FR" sz="1100" i="1" dirty="0"/>
          </a:p>
        </p:txBody>
      </p:sp>
      <p:cxnSp>
        <p:nvCxnSpPr>
          <p:cNvPr id="14" name="Connecteur droit 13"/>
          <p:cNvCxnSpPr/>
          <p:nvPr/>
        </p:nvCxnSpPr>
        <p:spPr>
          <a:xfrm>
            <a:off x="602673" y="2093589"/>
            <a:ext cx="6574348" cy="39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ZoneTexte 15"/>
          <p:cNvSpPr txBox="1"/>
          <p:nvPr/>
        </p:nvSpPr>
        <p:spPr>
          <a:xfrm>
            <a:off x="6168247" y="1574729"/>
            <a:ext cx="2226763" cy="506292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>
                <a:solidFill>
                  <a:schemeClr val="bg1"/>
                </a:solidFill>
              </a:rPr>
              <a:t>Dons et sponsoring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8354" y="2275411"/>
            <a:ext cx="5108554" cy="3472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ZoneTexte 3"/>
          <p:cNvSpPr txBox="1"/>
          <p:nvPr/>
        </p:nvSpPr>
        <p:spPr>
          <a:xfrm>
            <a:off x="726973" y="5821360"/>
            <a:ext cx="4736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Contribution des autorités religieuses (Al Amine)</a:t>
            </a:r>
          </a:p>
        </p:txBody>
      </p:sp>
      <p:pic>
        <p:nvPicPr>
          <p:cNvPr id="19" name="Image 18" descr="image4.JPG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927863" y="4013466"/>
            <a:ext cx="3264137" cy="2731718"/>
          </a:xfrm>
          <a:prstGeom prst="rect">
            <a:avLst/>
          </a:prstGeom>
        </p:spPr>
      </p:pic>
      <p:pic>
        <p:nvPicPr>
          <p:cNvPr id="20" name="Image 19" descr="IMG_0917.JPG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6096000" y="2267466"/>
            <a:ext cx="3157104" cy="2534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128304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9308504" y="328265"/>
            <a:ext cx="2299732" cy="506292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>
                <a:solidFill>
                  <a:schemeClr val="bg1"/>
                </a:solidFill>
              </a:rPr>
              <a:t>VENTES DE GADGET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48075C66-800D-381C-C57C-42E110B44DD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34" b="10099"/>
          <a:stretch/>
        </p:blipFill>
        <p:spPr>
          <a:xfrm>
            <a:off x="0" y="2112496"/>
            <a:ext cx="4584396" cy="3324281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B884555-A7D4-44FA-F99A-5B115F1AF1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0511" y="1290695"/>
            <a:ext cx="2571777" cy="279620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76415DEE-F350-EF1E-65AB-82E77C25AB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324711" y="3026538"/>
            <a:ext cx="2568174" cy="4887934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E35277A-3640-DD36-E9EF-A266E42A4F5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09" t="24223" r="37221" b="22366"/>
          <a:stretch/>
        </p:blipFill>
        <p:spPr>
          <a:xfrm>
            <a:off x="4688016" y="1350964"/>
            <a:ext cx="2393180" cy="3685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85355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7976234" y="339136"/>
            <a:ext cx="4071564" cy="506292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>
                <a:solidFill>
                  <a:schemeClr val="bg1"/>
                </a:solidFill>
              </a:rPr>
              <a:t>CAMPAGNES DE COLLECTEDE FONDS</a:t>
            </a:r>
          </a:p>
        </p:txBody>
      </p:sp>
      <p:pic>
        <p:nvPicPr>
          <p:cNvPr id="2050" name="Picture 2" descr="https://scontent.fdkr1-1.fna.fbcdn.net/v/t1.0-9/16938677_1487040431308033_1355750091986270871_n.jpg?oh=eb26eb359153e92c1c7ba95811f6c8f8&amp;oe=5A4E89D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202" y="1319186"/>
            <a:ext cx="4222572" cy="1978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Aucun texte alternatif disponible.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202" y="3645575"/>
            <a:ext cx="4222573" cy="2365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87BC629E-9260-9CDC-0414-2204A049CCA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088"/>
          <a:stretch/>
        </p:blipFill>
        <p:spPr>
          <a:xfrm>
            <a:off x="4543581" y="1650087"/>
            <a:ext cx="7283658" cy="5041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478181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4862946" y="2244589"/>
            <a:ext cx="2017284" cy="506292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>
                <a:solidFill>
                  <a:schemeClr val="bg1"/>
                </a:solidFill>
              </a:rPr>
              <a:t>Urnes de collecte</a:t>
            </a:r>
          </a:p>
        </p:txBody>
      </p:sp>
      <p:pic>
        <p:nvPicPr>
          <p:cNvPr id="17" name="Image 16" descr="20150930_125651.jpg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6809" y="2302796"/>
            <a:ext cx="3543289" cy="2956924"/>
          </a:xfrm>
          <a:prstGeom prst="rect">
            <a:avLst/>
          </a:prstGeom>
        </p:spPr>
      </p:pic>
      <p:pic>
        <p:nvPicPr>
          <p:cNvPr id="1026" name="Picture 2" descr="Aucun texte alternatif disponible.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7" b="13110"/>
          <a:stretch/>
        </p:blipFill>
        <p:spPr bwMode="auto">
          <a:xfrm>
            <a:off x="3312960" y="3198965"/>
            <a:ext cx="4085112" cy="3178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ZoneTexte 17"/>
          <p:cNvSpPr txBox="1"/>
          <p:nvPr/>
        </p:nvSpPr>
        <p:spPr>
          <a:xfrm>
            <a:off x="8515401" y="5815063"/>
            <a:ext cx="30841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Contribution du club </a:t>
            </a:r>
          </a:p>
          <a:p>
            <a:pPr algn="ctr"/>
            <a:r>
              <a:rPr lang="fr-FR" dirty="0"/>
              <a:t>des actionnaires de </a:t>
            </a:r>
            <a:r>
              <a:rPr lang="fr-FR" dirty="0" err="1"/>
              <a:t>Duopharm</a:t>
            </a:r>
            <a:endParaRPr lang="fr-FR" dirty="0"/>
          </a:p>
        </p:txBody>
      </p:sp>
      <p:pic>
        <p:nvPicPr>
          <p:cNvPr id="19" name="Image 18" descr="20151111_175925.jpg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609185" y="2598692"/>
            <a:ext cx="4686560" cy="2929811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17657962-9EB1-96D1-0993-A41B4492ED39}"/>
              </a:ext>
            </a:extLst>
          </p:cNvPr>
          <p:cNvSpPr txBox="1"/>
          <p:nvPr/>
        </p:nvSpPr>
        <p:spPr>
          <a:xfrm>
            <a:off x="7976234" y="339136"/>
            <a:ext cx="4071564" cy="506292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>
                <a:solidFill>
                  <a:schemeClr val="bg1"/>
                </a:solidFill>
              </a:rPr>
              <a:t>CAMPAGNES DE COLLECTEDE FONDS</a:t>
            </a:r>
          </a:p>
        </p:txBody>
      </p:sp>
    </p:spTree>
    <p:extLst>
      <p:ext uri="{BB962C8B-B14F-4D97-AF65-F5344CB8AC3E}">
        <p14:creationId xmlns:p14="http://schemas.microsoft.com/office/powerpoint/2010/main" val="113568826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42875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34978" y="4603937"/>
            <a:ext cx="2592388" cy="1452362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836283" y="6032500"/>
            <a:ext cx="17549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/>
              <a:t>Ministère de la sante </a:t>
            </a:r>
          </a:p>
          <a:p>
            <a:pPr algn="ctr"/>
            <a:r>
              <a:rPr lang="fr-FR" sz="1400" b="1" dirty="0"/>
              <a:t>et de l’action sociale</a:t>
            </a:r>
          </a:p>
        </p:txBody>
      </p:sp>
      <p:pic>
        <p:nvPicPr>
          <p:cNvPr id="14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3811795" y="1779272"/>
            <a:ext cx="3887541" cy="123697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age 5" descr="Unknown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9500" y="4079874"/>
            <a:ext cx="2270125" cy="2270125"/>
          </a:xfrm>
          <a:prstGeom prst="rect">
            <a:avLst/>
          </a:prstGeom>
        </p:spPr>
      </p:pic>
      <p:sp>
        <p:nvSpPr>
          <p:cNvPr id="7" name="Arc 6"/>
          <p:cNvSpPr/>
          <p:nvPr/>
        </p:nvSpPr>
        <p:spPr>
          <a:xfrm>
            <a:off x="5778500" y="2254250"/>
            <a:ext cx="4238625" cy="4095750"/>
          </a:xfrm>
          <a:prstGeom prst="arc">
            <a:avLst/>
          </a:prstGeom>
          <a:ln w="57150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Arc 15"/>
          <p:cNvSpPr/>
          <p:nvPr/>
        </p:nvSpPr>
        <p:spPr>
          <a:xfrm flipH="1">
            <a:off x="1635125" y="2232024"/>
            <a:ext cx="4175125" cy="3863976"/>
          </a:xfrm>
          <a:prstGeom prst="arc">
            <a:avLst>
              <a:gd name="adj1" fmla="val 16200000"/>
              <a:gd name="adj2" fmla="val 1"/>
            </a:avLst>
          </a:prstGeom>
          <a:ln w="57150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Arc 16"/>
          <p:cNvSpPr/>
          <p:nvPr/>
        </p:nvSpPr>
        <p:spPr>
          <a:xfrm rot="13591906" flipH="1">
            <a:off x="2812492" y="-237265"/>
            <a:ext cx="6503518" cy="6872153"/>
          </a:xfrm>
          <a:prstGeom prst="arc">
            <a:avLst/>
          </a:prstGeom>
          <a:ln w="57150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xplosion 1 1"/>
          <p:cNvSpPr/>
          <p:nvPr/>
        </p:nvSpPr>
        <p:spPr>
          <a:xfrm>
            <a:off x="2952750" y="2825750"/>
            <a:ext cx="6565900" cy="3095625"/>
          </a:xfrm>
          <a:prstGeom prst="irregularSeal1">
            <a:avLst/>
          </a:prstGeom>
          <a:solidFill>
            <a:srgbClr val="00009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Octobre 2010</a:t>
            </a:r>
          </a:p>
          <a:p>
            <a:pPr algn="ctr"/>
            <a:r>
              <a:rPr lang="fr-FR" dirty="0"/>
              <a:t>Mai 2018</a:t>
            </a:r>
          </a:p>
          <a:p>
            <a:pPr algn="ctr"/>
            <a:r>
              <a:rPr lang="fr-FR" dirty="0"/>
              <a:t>Février 2020</a:t>
            </a:r>
          </a:p>
          <a:p>
            <a:pPr algn="ctr"/>
            <a:r>
              <a:rPr lang="fr-FR" dirty="0"/>
              <a:t>Novembre 2022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0" y="1539875"/>
            <a:ext cx="388475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TELETTELETHON </a:t>
            </a:r>
            <a:endParaRPr lang="fr-FR" sz="3200" b="1" i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  <a:p>
            <a:endParaRPr lang="fr-FR" sz="3200" b="1" i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  <a:p>
            <a:endParaRPr lang="fr-FR" sz="3200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53634612-B564-A750-E5C7-0396E66D7918}"/>
              </a:ext>
            </a:extLst>
          </p:cNvPr>
          <p:cNvSpPr txBox="1"/>
          <p:nvPr/>
        </p:nvSpPr>
        <p:spPr>
          <a:xfrm>
            <a:off x="7981343" y="482011"/>
            <a:ext cx="4071564" cy="506292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>
                <a:solidFill>
                  <a:schemeClr val="bg1"/>
                </a:solidFill>
              </a:rPr>
              <a:t>CAMPAGNES DE COLLECTEDE FONDS</a:t>
            </a:r>
          </a:p>
        </p:txBody>
      </p:sp>
    </p:spTree>
    <p:extLst>
      <p:ext uri="{BB962C8B-B14F-4D97-AF65-F5344CB8AC3E}">
        <p14:creationId xmlns:p14="http://schemas.microsoft.com/office/powerpoint/2010/main" val="1899348570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8407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11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44202" y="134623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/>
          <p:cNvSpPr txBox="1"/>
          <p:nvPr/>
        </p:nvSpPr>
        <p:spPr>
          <a:xfrm>
            <a:off x="4862946" y="166400"/>
            <a:ext cx="253512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Ensemble,  </a:t>
            </a:r>
            <a:b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fr-FR" sz="2400" dirty="0">
                <a:solidFill>
                  <a:srgbClr val="0070C0"/>
                </a:solidFill>
                <a:latin typeface="Calibri" panose="020F0502020204030204" pitchFamily="34" charset="0"/>
              </a:rPr>
              <a:t>vaincre le cancer</a:t>
            </a:r>
            <a:endParaRPr lang="fr-FR" sz="2400" dirty="0">
              <a:solidFill>
                <a:srgbClr val="0070C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5445822" y="1678088"/>
            <a:ext cx="1300356" cy="553998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>
                <a:solidFill>
                  <a:schemeClr val="bg1"/>
                </a:solidFill>
              </a:rPr>
              <a:t>TELETHON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95447"/>
            <a:ext cx="3962400" cy="2315276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3092" y="4352061"/>
            <a:ext cx="3758908" cy="2505939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3092" y="1782393"/>
            <a:ext cx="3758908" cy="2439375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03" y="4156408"/>
            <a:ext cx="3927797" cy="2693185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574" y="2692320"/>
            <a:ext cx="4430344" cy="2953562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8BBE2D4F-BDB3-C6F3-2240-1CB5C4EF347F}"/>
              </a:ext>
            </a:extLst>
          </p:cNvPr>
          <p:cNvSpPr txBox="1"/>
          <p:nvPr/>
        </p:nvSpPr>
        <p:spPr>
          <a:xfrm>
            <a:off x="7976234" y="339136"/>
            <a:ext cx="4071564" cy="506292"/>
          </a:xfrm>
          <a:prstGeom prst="rect">
            <a:avLst/>
          </a:prstGeom>
          <a:solidFill>
            <a:srgbClr val="002060"/>
          </a:solidFill>
          <a:ln w="571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b="1" dirty="0">
                <a:solidFill>
                  <a:schemeClr val="bg1"/>
                </a:solidFill>
              </a:rPr>
              <a:t>CAMPAGNES DE COLLECTEDE FONDS</a:t>
            </a:r>
          </a:p>
        </p:txBody>
      </p:sp>
    </p:spTree>
    <p:extLst>
      <p:ext uri="{BB962C8B-B14F-4D97-AF65-F5344CB8AC3E}">
        <p14:creationId xmlns:p14="http://schemas.microsoft.com/office/powerpoint/2010/main" val="4152278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1184564"/>
          </a:xfrm>
          <a:prstGeom prst="rect">
            <a:avLst/>
          </a:prstGeom>
          <a:solidFill>
            <a:srgbClr val="C4E6F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2" descr="C:\Users\Toshiba\Desktop\LOGOS ASSOCIATIONS\12088187_758406247598243_4867945842152385594_n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71432" y="164129"/>
            <a:ext cx="2808312" cy="89357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4862946" y="166400"/>
            <a:ext cx="2535126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fr-FR" sz="2800" dirty="0">
                <a:solidFill>
                  <a:srgbClr val="0070C0"/>
                </a:solidFill>
                <a:latin typeface="Calibri" panose="020F0502020204030204" pitchFamily="34" charset="0"/>
              </a:rPr>
              <a:t>2023</a:t>
            </a:r>
            <a:endParaRPr lang="fr-FR" sz="2800" dirty="0">
              <a:solidFill>
                <a:srgbClr val="0070C0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7398072" y="6313378"/>
            <a:ext cx="1846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sz="1400" b="1" dirty="0">
              <a:solidFill>
                <a:schemeClr val="tx1"/>
              </a:solidFill>
            </a:endParaRPr>
          </a:p>
          <a:p>
            <a:endParaRPr lang="fr-FR" sz="1400" dirty="0"/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B701419E-4968-BA97-688C-F5F83AF506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3053485"/>
              </p:ext>
            </p:extLst>
          </p:nvPr>
        </p:nvGraphicFramePr>
        <p:xfrm>
          <a:off x="296333" y="1225097"/>
          <a:ext cx="11599333" cy="56329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527679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376</TotalTime>
  <Words>1956</Words>
  <Application>Microsoft Macintosh PowerPoint</Application>
  <PresentationFormat>Grand écran</PresentationFormat>
  <Paragraphs>452</Paragraphs>
  <Slides>87</Slides>
  <Notes>10</Notes>
  <HiddenSlides>0</HiddenSlides>
  <MMClips>1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7</vt:i4>
      </vt:variant>
    </vt:vector>
  </HeadingPairs>
  <TitlesOfParts>
    <vt:vector size="98" baseType="lpstr">
      <vt:lpstr>Arial</vt:lpstr>
      <vt:lpstr>Bank Gothic Medium</vt:lpstr>
      <vt:lpstr>Book Antiqua</vt:lpstr>
      <vt:lpstr>Calibri</vt:lpstr>
      <vt:lpstr>Calibri Light</vt:lpstr>
      <vt:lpstr>Courier New</vt:lpstr>
      <vt:lpstr>Roboto Condensed</vt:lpstr>
      <vt:lpstr>Times New Roman</vt:lpstr>
      <vt:lpstr>Wingdings</vt:lpstr>
      <vt:lpstr>Thème Offic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En lien avec les districts, la LISCA a supporté les efforts de sensibilisation pour le projet pilot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LISCA</dc:creator>
  <cp:lastModifiedBy>Microsoft Office User</cp:lastModifiedBy>
  <cp:revision>341</cp:revision>
  <cp:lastPrinted>2021-09-22T15:08:37Z</cp:lastPrinted>
  <dcterms:created xsi:type="dcterms:W3CDTF">2017-09-27T15:07:56Z</dcterms:created>
  <dcterms:modified xsi:type="dcterms:W3CDTF">2024-05-25T18:41:40Z</dcterms:modified>
</cp:coreProperties>
</file>